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2.xml" ContentType="application/vnd.openxmlformats-officedocument.theme+xml"/>
  <Override PartName="/ppt/tags/tag73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3.xml" ContentType="application/vnd.openxmlformats-officedocument.theme+xml"/>
  <Override PartName="/ppt/tags/tag7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3"/>
    <p:sldMasterId id="2147483799" r:id="rId4"/>
    <p:sldMasterId id="2147483814" r:id="rId5"/>
  </p:sldMasterIdLst>
  <p:notesMasterIdLst>
    <p:notesMasterId r:id="rId18"/>
  </p:notesMasterIdLst>
  <p:handoutMasterIdLst>
    <p:handoutMasterId r:id="rId19"/>
  </p:handoutMasterIdLst>
  <p:sldIdLst>
    <p:sldId id="1274" r:id="rId6"/>
    <p:sldId id="2147476570" r:id="rId7"/>
    <p:sldId id="2147476571" r:id="rId8"/>
    <p:sldId id="2147476572" r:id="rId9"/>
    <p:sldId id="2147476574" r:id="rId10"/>
    <p:sldId id="2147476575" r:id="rId11"/>
    <p:sldId id="2147476573" r:id="rId12"/>
    <p:sldId id="2147476576" r:id="rId13"/>
    <p:sldId id="2147476580" r:id="rId14"/>
    <p:sldId id="2147476578" r:id="rId15"/>
    <p:sldId id="2147476579" r:id="rId16"/>
    <p:sldId id="2147476577" r:id="rId17"/>
  </p:sldIdLst>
  <p:sldSz cx="12192000" cy="6858000"/>
  <p:notesSz cx="6858000" cy="9144000"/>
  <p:custDataLst>
    <p:tags r:id="rId20"/>
  </p:custDataLst>
  <p:defaultTextStyle>
    <a:defPPr>
      <a:defRPr lang="en-US"/>
    </a:defPPr>
    <a:lvl1pPr>
      <a:spcBef>
        <a:spcPts val="0"/>
      </a:spcBef>
      <a:buClr>
        <a:schemeClr val="accent1"/>
      </a:buClr>
      <a:defRPr sz="1800"/>
    </a:lvl1pPr>
    <a:lvl2pPr marL="1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2pPr>
    <a:lvl3pPr marL="3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3pPr>
    <a:lvl4pPr marL="5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4pPr>
    <a:lvl5pPr marL="72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5pPr>
    <a:lvl6pPr marL="90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6pPr>
    <a:lvl7pPr marL="10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7pPr>
    <a:lvl8pPr marL="12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8pPr>
    <a:lvl9pPr marL="14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28"/>
    <a:srgbClr val="2173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9C72F3-D24B-41FB-A66F-E28F3524EEC9}" v="108" dt="2024-08-09T06:10:28.187"/>
  </p1510:revLst>
</p1510:revInfo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20" autoAdjust="0"/>
    <p:restoredTop sz="93758" autoAdjust="0"/>
  </p:normalViewPr>
  <p:slideViewPr>
    <p:cSldViewPr snapToGrid="0" showGuides="1">
      <p:cViewPr>
        <p:scale>
          <a:sx n="75" d="100"/>
          <a:sy n="75" d="100"/>
        </p:scale>
        <p:origin x="248" y="12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2310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4938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slideMaster" Target="slideMasters/slideMaster1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ang, Shao Peng (T CED INW-CN)" userId="2eb256f4-76e2-427a-8210-07e30b9980ce" providerId="ADAL" clId="{5A9C72F3-D24B-41FB-A66F-E28F3524EEC9}"/>
    <pc:docChg chg="undo custSel addSld delSld modSld sldOrd">
      <pc:chgData name="Yang, Shao Peng (T CED INW-CN)" userId="2eb256f4-76e2-427a-8210-07e30b9980ce" providerId="ADAL" clId="{5A9C72F3-D24B-41FB-A66F-E28F3524EEC9}" dt="2024-08-13T10:58:26.083" v="2838" actId="20577"/>
      <pc:docMkLst>
        <pc:docMk/>
      </pc:docMkLst>
      <pc:sldChg chg="modSp mod">
        <pc:chgData name="Yang, Shao Peng (T CED INW-CN)" userId="2eb256f4-76e2-427a-8210-07e30b9980ce" providerId="ADAL" clId="{5A9C72F3-D24B-41FB-A66F-E28F3524EEC9}" dt="2024-08-09T03:07:06.141" v="2460" actId="20577"/>
        <pc:sldMkLst>
          <pc:docMk/>
          <pc:sldMk cId="2428343382" sldId="1274"/>
        </pc:sldMkLst>
        <pc:spChg chg="mod">
          <ac:chgData name="Yang, Shao Peng (T CED INW-CN)" userId="2eb256f4-76e2-427a-8210-07e30b9980ce" providerId="ADAL" clId="{5A9C72F3-D24B-41FB-A66F-E28F3524EEC9}" dt="2024-08-09T03:07:06.141" v="2460" actId="20577"/>
          <ac:spMkLst>
            <pc:docMk/>
            <pc:sldMk cId="2428343382" sldId="1274"/>
            <ac:spMk id="4" creationId="{DC118CD4-EB57-B1A1-9334-AC681CC98229}"/>
          </ac:spMkLst>
        </pc:spChg>
      </pc:sldChg>
      <pc:sldChg chg="delSp modSp mod">
        <pc:chgData name="Yang, Shao Peng (T CED INW-CN)" userId="2eb256f4-76e2-427a-8210-07e30b9980ce" providerId="ADAL" clId="{5A9C72F3-D24B-41FB-A66F-E28F3524EEC9}" dt="2024-08-13T10:58:26.083" v="2838" actId="20577"/>
        <pc:sldMkLst>
          <pc:docMk/>
          <pc:sldMk cId="967826123" sldId="2147476570"/>
        </pc:sldMkLst>
        <pc:spChg chg="mod">
          <ac:chgData name="Yang, Shao Peng (T CED INW-CN)" userId="2eb256f4-76e2-427a-8210-07e30b9980ce" providerId="ADAL" clId="{5A9C72F3-D24B-41FB-A66F-E28F3524EEC9}" dt="2024-08-08T06:00:23.886" v="894" actId="1076"/>
          <ac:spMkLst>
            <pc:docMk/>
            <pc:sldMk cId="967826123" sldId="2147476570"/>
            <ac:spMk id="7" creationId="{616ACD05-A111-4F7F-B284-44DBE4648FCF}"/>
          </ac:spMkLst>
        </pc:spChg>
        <pc:spChg chg="mod">
          <ac:chgData name="Yang, Shao Peng (T CED INW-CN)" userId="2eb256f4-76e2-427a-8210-07e30b9980ce" providerId="ADAL" clId="{5A9C72F3-D24B-41FB-A66F-E28F3524EEC9}" dt="2024-08-09T03:07:10.944" v="2461"/>
          <ac:spMkLst>
            <pc:docMk/>
            <pc:sldMk cId="967826123" sldId="2147476570"/>
            <ac:spMk id="9" creationId="{F980B7A4-0057-7247-C38F-F04D27EB542F}"/>
          </ac:spMkLst>
        </pc:spChg>
        <pc:spChg chg="del mod">
          <ac:chgData name="Yang, Shao Peng (T CED INW-CN)" userId="2eb256f4-76e2-427a-8210-07e30b9980ce" providerId="ADAL" clId="{5A9C72F3-D24B-41FB-A66F-E28F3524EEC9}" dt="2024-07-29T03:00:48.828" v="378" actId="478"/>
          <ac:spMkLst>
            <pc:docMk/>
            <pc:sldMk cId="967826123" sldId="2147476570"/>
            <ac:spMk id="11" creationId="{5C43FB78-55B1-8881-3135-8842773CD206}"/>
          </ac:spMkLst>
        </pc:spChg>
        <pc:graphicFrameChg chg="mod modGraphic">
          <ac:chgData name="Yang, Shao Peng (T CED INW-CN)" userId="2eb256f4-76e2-427a-8210-07e30b9980ce" providerId="ADAL" clId="{5A9C72F3-D24B-41FB-A66F-E28F3524EEC9}" dt="2024-08-13T10:58:26.083" v="2838" actId="20577"/>
          <ac:graphicFrameMkLst>
            <pc:docMk/>
            <pc:sldMk cId="967826123" sldId="2147476570"/>
            <ac:graphicFrameMk id="10" creationId="{008E5A5D-E554-1086-1CEE-9694491BD16C}"/>
          </ac:graphicFrameMkLst>
        </pc:graphicFrameChg>
      </pc:sldChg>
      <pc:sldChg chg="addSp delSp modSp new mod">
        <pc:chgData name="Yang, Shao Peng (T CED INW-CN)" userId="2eb256f4-76e2-427a-8210-07e30b9980ce" providerId="ADAL" clId="{5A9C72F3-D24B-41FB-A66F-E28F3524EEC9}" dt="2024-08-09T03:07:15.048" v="2462"/>
        <pc:sldMkLst>
          <pc:docMk/>
          <pc:sldMk cId="3310021901" sldId="2147476571"/>
        </pc:sldMkLst>
        <pc:spChg chg="mod">
          <ac:chgData name="Yang, Shao Peng (T CED INW-CN)" userId="2eb256f4-76e2-427a-8210-07e30b9980ce" providerId="ADAL" clId="{5A9C72F3-D24B-41FB-A66F-E28F3524EEC9}" dt="2024-07-29T01:17:05.008" v="72" actId="20577"/>
          <ac:spMkLst>
            <pc:docMk/>
            <pc:sldMk cId="3310021901" sldId="2147476571"/>
            <ac:spMk id="2" creationId="{9FCED254-B5C7-5A74-68CE-6C85C1CDDCB4}"/>
          </ac:spMkLst>
        </pc:spChg>
        <pc:spChg chg="mod">
          <ac:chgData name="Yang, Shao Peng (T CED INW-CN)" userId="2eb256f4-76e2-427a-8210-07e30b9980ce" providerId="ADAL" clId="{5A9C72F3-D24B-41FB-A66F-E28F3524EEC9}" dt="2024-08-09T03:07:15.048" v="2462"/>
          <ac:spMkLst>
            <pc:docMk/>
            <pc:sldMk cId="3310021901" sldId="2147476571"/>
            <ac:spMk id="3" creationId="{15837A52-7206-2EF3-5F2C-128BB7204C57}"/>
          </ac:spMkLst>
        </pc:spChg>
        <pc:spChg chg="add del mod">
          <ac:chgData name="Yang, Shao Peng (T CED INW-CN)" userId="2eb256f4-76e2-427a-8210-07e30b9980ce" providerId="ADAL" clId="{5A9C72F3-D24B-41FB-A66F-E28F3524EEC9}" dt="2024-07-29T01:23:18.086" v="112" actId="478"/>
          <ac:spMkLst>
            <pc:docMk/>
            <pc:sldMk cId="3310021901" sldId="2147476571"/>
            <ac:spMk id="5" creationId="{57FD5FB8-BAD4-22E0-C24B-A6B629A176C8}"/>
          </ac:spMkLst>
        </pc:spChg>
        <pc:spChg chg="add mod">
          <ac:chgData name="Yang, Shao Peng (T CED INW-CN)" userId="2eb256f4-76e2-427a-8210-07e30b9980ce" providerId="ADAL" clId="{5A9C72F3-D24B-41FB-A66F-E28F3524EEC9}" dt="2024-08-09T01:43:42.783" v="1922" actId="1076"/>
          <ac:spMkLst>
            <pc:docMk/>
            <pc:sldMk cId="3310021901" sldId="2147476571"/>
            <ac:spMk id="5" creationId="{8F83AA8C-6CBE-87FE-3204-2EB3FEC2DAD4}"/>
          </ac:spMkLst>
        </pc:spChg>
        <pc:spChg chg="add del mod">
          <ac:chgData name="Yang, Shao Peng (T CED INW-CN)" userId="2eb256f4-76e2-427a-8210-07e30b9980ce" providerId="ADAL" clId="{5A9C72F3-D24B-41FB-A66F-E28F3524EEC9}" dt="2024-08-09T01:02:32.236" v="1312"/>
          <ac:spMkLst>
            <pc:docMk/>
            <pc:sldMk cId="3310021901" sldId="2147476571"/>
            <ac:spMk id="6" creationId="{8917F11F-910D-FEF0-D66C-C2854B293363}"/>
          </ac:spMkLst>
        </pc:spChg>
        <pc:spChg chg="add mod">
          <ac:chgData name="Yang, Shao Peng (T CED INW-CN)" userId="2eb256f4-76e2-427a-8210-07e30b9980ce" providerId="ADAL" clId="{5A9C72F3-D24B-41FB-A66F-E28F3524EEC9}" dt="2024-08-09T01:36:53.556" v="1797" actId="20577"/>
          <ac:spMkLst>
            <pc:docMk/>
            <pc:sldMk cId="3310021901" sldId="2147476571"/>
            <ac:spMk id="7" creationId="{C7866F5A-E2BD-ED70-241E-1557D197A1FD}"/>
          </ac:spMkLst>
        </pc:spChg>
        <pc:spChg chg="add mod">
          <ac:chgData name="Yang, Shao Peng (T CED INW-CN)" userId="2eb256f4-76e2-427a-8210-07e30b9980ce" providerId="ADAL" clId="{5A9C72F3-D24B-41FB-A66F-E28F3524EEC9}" dt="2024-08-09T01:42:47.079" v="1898" actId="14100"/>
          <ac:spMkLst>
            <pc:docMk/>
            <pc:sldMk cId="3310021901" sldId="2147476571"/>
            <ac:spMk id="12" creationId="{AAAD10B7-1AB6-1483-23A5-25C73DF915B6}"/>
          </ac:spMkLst>
        </pc:spChg>
        <pc:spChg chg="add mod">
          <ac:chgData name="Yang, Shao Peng (T CED INW-CN)" userId="2eb256f4-76e2-427a-8210-07e30b9980ce" providerId="ADAL" clId="{5A9C72F3-D24B-41FB-A66F-E28F3524EEC9}" dt="2024-08-09T01:43:35.615" v="1921" actId="1076"/>
          <ac:spMkLst>
            <pc:docMk/>
            <pc:sldMk cId="3310021901" sldId="2147476571"/>
            <ac:spMk id="13" creationId="{6FF5BA89-03A9-0627-B31B-3C131D2A7B96}"/>
          </ac:spMkLst>
        </pc:spChg>
        <pc:picChg chg="add mod">
          <ac:chgData name="Yang, Shao Peng (T CED INW-CN)" userId="2eb256f4-76e2-427a-8210-07e30b9980ce" providerId="ADAL" clId="{5A9C72F3-D24B-41FB-A66F-E28F3524EEC9}" dt="2024-08-09T01:43:31.166" v="1920" actId="1076"/>
          <ac:picMkLst>
            <pc:docMk/>
            <pc:sldMk cId="3310021901" sldId="2147476571"/>
            <ac:picMk id="9" creationId="{3AAF2F0C-3739-4D1D-6A6C-102008A9837A}"/>
          </ac:picMkLst>
        </pc:picChg>
        <pc:picChg chg="add mod ord">
          <ac:chgData name="Yang, Shao Peng (T CED INW-CN)" userId="2eb256f4-76e2-427a-8210-07e30b9980ce" providerId="ADAL" clId="{5A9C72F3-D24B-41FB-A66F-E28F3524EEC9}" dt="2024-08-09T01:42:14.016" v="1863" actId="1076"/>
          <ac:picMkLst>
            <pc:docMk/>
            <pc:sldMk cId="3310021901" sldId="2147476571"/>
            <ac:picMk id="11" creationId="{DBD1A336-3EAD-0BC1-BAB8-07BE6B6EF541}"/>
          </ac:picMkLst>
        </pc:picChg>
        <pc:picChg chg="add mod">
          <ac:chgData name="Yang, Shao Peng (T CED INW-CN)" userId="2eb256f4-76e2-427a-8210-07e30b9980ce" providerId="ADAL" clId="{5A9C72F3-D24B-41FB-A66F-E28F3524EEC9}" dt="2024-08-09T01:08:22.550" v="1444" actId="1076"/>
          <ac:picMkLst>
            <pc:docMk/>
            <pc:sldMk cId="3310021901" sldId="2147476571"/>
            <ac:picMk id="1026" creationId="{4DF3D25E-AF3D-6E81-9EA5-7749CAD613F2}"/>
          </ac:picMkLst>
        </pc:picChg>
      </pc:sldChg>
      <pc:sldChg chg="addSp modSp new del mod">
        <pc:chgData name="Yang, Shao Peng (T CED INW-CN)" userId="2eb256f4-76e2-427a-8210-07e30b9980ce" providerId="ADAL" clId="{5A9C72F3-D24B-41FB-A66F-E28F3524EEC9}" dt="2024-07-29T02:59:11.094" v="343" actId="2696"/>
        <pc:sldMkLst>
          <pc:docMk/>
          <pc:sldMk cId="166318893" sldId="2147476572"/>
        </pc:sldMkLst>
        <pc:spChg chg="mod">
          <ac:chgData name="Yang, Shao Peng (T CED INW-CN)" userId="2eb256f4-76e2-427a-8210-07e30b9980ce" providerId="ADAL" clId="{5A9C72F3-D24B-41FB-A66F-E28F3524EEC9}" dt="2024-07-29T02:56:12.198" v="263"/>
          <ac:spMkLst>
            <pc:docMk/>
            <pc:sldMk cId="166318893" sldId="2147476572"/>
            <ac:spMk id="2" creationId="{B8880805-9FB7-4BA3-16DE-D40C37DDC853}"/>
          </ac:spMkLst>
        </pc:spChg>
        <pc:graphicFrameChg chg="add mod modGraphic">
          <ac:chgData name="Yang, Shao Peng (T CED INW-CN)" userId="2eb256f4-76e2-427a-8210-07e30b9980ce" providerId="ADAL" clId="{5A9C72F3-D24B-41FB-A66F-E28F3524EEC9}" dt="2024-07-29T02:59:07.765" v="342" actId="14734"/>
          <ac:graphicFrameMkLst>
            <pc:docMk/>
            <pc:sldMk cId="166318893" sldId="2147476572"/>
            <ac:graphicFrameMk id="5" creationId="{B3BFC944-4283-B745-0ADA-7B7E59E9B7A1}"/>
          </ac:graphicFrameMkLst>
        </pc:graphicFrameChg>
      </pc:sldChg>
      <pc:sldChg chg="addSp modSp new mod">
        <pc:chgData name="Yang, Shao Peng (T CED INW-CN)" userId="2eb256f4-76e2-427a-8210-07e30b9980ce" providerId="ADAL" clId="{5A9C72F3-D24B-41FB-A66F-E28F3524EEC9}" dt="2024-08-09T03:07:18.725" v="2463"/>
        <pc:sldMkLst>
          <pc:docMk/>
          <pc:sldMk cId="812272206" sldId="2147476572"/>
        </pc:sldMkLst>
        <pc:spChg chg="mod">
          <ac:chgData name="Yang, Shao Peng (T CED INW-CN)" userId="2eb256f4-76e2-427a-8210-07e30b9980ce" providerId="ADAL" clId="{5A9C72F3-D24B-41FB-A66F-E28F3524EEC9}" dt="2024-08-08T06:14:36.043" v="1143" actId="20577"/>
          <ac:spMkLst>
            <pc:docMk/>
            <pc:sldMk cId="812272206" sldId="2147476572"/>
            <ac:spMk id="2" creationId="{272D9516-67D5-13DE-A310-93F66BA535AE}"/>
          </ac:spMkLst>
        </pc:spChg>
        <pc:spChg chg="mod">
          <ac:chgData name="Yang, Shao Peng (T CED INW-CN)" userId="2eb256f4-76e2-427a-8210-07e30b9980ce" providerId="ADAL" clId="{5A9C72F3-D24B-41FB-A66F-E28F3524EEC9}" dt="2024-08-09T03:07:18.725" v="2463"/>
          <ac:spMkLst>
            <pc:docMk/>
            <pc:sldMk cId="812272206" sldId="2147476572"/>
            <ac:spMk id="3" creationId="{E69FCB63-7EBA-3101-1A66-2031F1654F85}"/>
          </ac:spMkLst>
        </pc:spChg>
        <pc:spChg chg="add mod">
          <ac:chgData name="Yang, Shao Peng (T CED INW-CN)" userId="2eb256f4-76e2-427a-8210-07e30b9980ce" providerId="ADAL" clId="{5A9C72F3-D24B-41FB-A66F-E28F3524EEC9}" dt="2024-08-09T01:50:49.149" v="1989" actId="1076"/>
          <ac:spMkLst>
            <pc:docMk/>
            <pc:sldMk cId="812272206" sldId="2147476572"/>
            <ac:spMk id="5" creationId="{047809C4-AF3E-4ADA-9920-9406297F8EA5}"/>
          </ac:spMkLst>
        </pc:spChg>
        <pc:spChg chg="add mod">
          <ac:chgData name="Yang, Shao Peng (T CED INW-CN)" userId="2eb256f4-76e2-427a-8210-07e30b9980ce" providerId="ADAL" clId="{5A9C72F3-D24B-41FB-A66F-E28F3524EEC9}" dt="2024-08-09T01:53:23.941" v="2034" actId="1076"/>
          <ac:spMkLst>
            <pc:docMk/>
            <pc:sldMk cId="812272206" sldId="2147476572"/>
            <ac:spMk id="6" creationId="{8536CC16-F528-2892-66DD-D130EBF4754A}"/>
          </ac:spMkLst>
        </pc:spChg>
        <pc:spChg chg="add mod">
          <ac:chgData name="Yang, Shao Peng (T CED INW-CN)" userId="2eb256f4-76e2-427a-8210-07e30b9980ce" providerId="ADAL" clId="{5A9C72F3-D24B-41FB-A66F-E28F3524EEC9}" dt="2024-08-09T01:53:17.676" v="2033" actId="1076"/>
          <ac:spMkLst>
            <pc:docMk/>
            <pc:sldMk cId="812272206" sldId="2147476572"/>
            <ac:spMk id="7" creationId="{CBF7EE10-9F0E-07C8-FBD0-DEA179E3E02E}"/>
          </ac:spMkLst>
        </pc:spChg>
        <pc:picChg chg="add mod">
          <ac:chgData name="Yang, Shao Peng (T CED INW-CN)" userId="2eb256f4-76e2-427a-8210-07e30b9980ce" providerId="ADAL" clId="{5A9C72F3-D24B-41FB-A66F-E28F3524EEC9}" dt="2024-08-09T01:57:13.141" v="2042" actId="1076"/>
          <ac:picMkLst>
            <pc:docMk/>
            <pc:sldMk cId="812272206" sldId="2147476572"/>
            <ac:picMk id="9" creationId="{F11E830C-734B-D3E9-A5B3-92C182F8DFB7}"/>
          </ac:picMkLst>
        </pc:picChg>
        <pc:picChg chg="add mod">
          <ac:chgData name="Yang, Shao Peng (T CED INW-CN)" userId="2eb256f4-76e2-427a-8210-07e30b9980ce" providerId="ADAL" clId="{5A9C72F3-D24B-41FB-A66F-E28F3524EEC9}" dt="2024-08-09T01:57:32.051" v="2046" actId="1076"/>
          <ac:picMkLst>
            <pc:docMk/>
            <pc:sldMk cId="812272206" sldId="2147476572"/>
            <ac:picMk id="11" creationId="{57BD6AAC-C15B-4AF2-AAF2-AD626AB4DBA9}"/>
          </ac:picMkLst>
        </pc:picChg>
        <pc:picChg chg="add mod">
          <ac:chgData name="Yang, Shao Peng (T CED INW-CN)" userId="2eb256f4-76e2-427a-8210-07e30b9980ce" providerId="ADAL" clId="{5A9C72F3-D24B-41FB-A66F-E28F3524EEC9}" dt="2024-08-09T01:53:04.125" v="2030" actId="1076"/>
          <ac:picMkLst>
            <pc:docMk/>
            <pc:sldMk cId="812272206" sldId="2147476572"/>
            <ac:picMk id="2050" creationId="{DB7F33A1-1E78-83C2-E579-C000B865C243}"/>
          </ac:picMkLst>
        </pc:picChg>
        <pc:picChg chg="add mod">
          <ac:chgData name="Yang, Shao Peng (T CED INW-CN)" userId="2eb256f4-76e2-427a-8210-07e30b9980ce" providerId="ADAL" clId="{5A9C72F3-D24B-41FB-A66F-E28F3524EEC9}" dt="2024-08-09T01:53:09.235" v="2031" actId="1076"/>
          <ac:picMkLst>
            <pc:docMk/>
            <pc:sldMk cId="812272206" sldId="2147476572"/>
            <ac:picMk id="2052" creationId="{FECC03D6-CEAD-71F6-1C79-F067D4543DB0}"/>
          </ac:picMkLst>
        </pc:picChg>
        <pc:picChg chg="add mod">
          <ac:chgData name="Yang, Shao Peng (T CED INW-CN)" userId="2eb256f4-76e2-427a-8210-07e30b9980ce" providerId="ADAL" clId="{5A9C72F3-D24B-41FB-A66F-E28F3524EEC9}" dt="2024-08-09T01:56:59.433" v="2040" actId="14100"/>
          <ac:picMkLst>
            <pc:docMk/>
            <pc:sldMk cId="812272206" sldId="2147476572"/>
            <ac:picMk id="2054" creationId="{89F295E5-A89A-6EC8-941A-7D3A5F355366}"/>
          </ac:picMkLst>
        </pc:picChg>
      </pc:sldChg>
      <pc:sldChg chg="addSp delSp modSp add mod">
        <pc:chgData name="Yang, Shao Peng (T CED INW-CN)" userId="2eb256f4-76e2-427a-8210-07e30b9980ce" providerId="ADAL" clId="{5A9C72F3-D24B-41FB-A66F-E28F3524EEC9}" dt="2024-08-09T03:07:39.108" v="2466"/>
        <pc:sldMkLst>
          <pc:docMk/>
          <pc:sldMk cId="348790540" sldId="2147476573"/>
        </pc:sldMkLst>
        <pc:spChg chg="mod">
          <ac:chgData name="Yang, Shao Peng (T CED INW-CN)" userId="2eb256f4-76e2-427a-8210-07e30b9980ce" providerId="ADAL" clId="{5A9C72F3-D24B-41FB-A66F-E28F3524EEC9}" dt="2024-08-08T06:14:12.114" v="1128" actId="20577"/>
          <ac:spMkLst>
            <pc:docMk/>
            <pc:sldMk cId="348790540" sldId="2147476573"/>
            <ac:spMk id="2" creationId="{272D9516-67D5-13DE-A310-93F66BA535AE}"/>
          </ac:spMkLst>
        </pc:spChg>
        <pc:spChg chg="mod">
          <ac:chgData name="Yang, Shao Peng (T CED INW-CN)" userId="2eb256f4-76e2-427a-8210-07e30b9980ce" providerId="ADAL" clId="{5A9C72F3-D24B-41FB-A66F-E28F3524EEC9}" dt="2024-08-09T03:07:39.108" v="2466"/>
          <ac:spMkLst>
            <pc:docMk/>
            <pc:sldMk cId="348790540" sldId="2147476573"/>
            <ac:spMk id="3" creationId="{E69FCB63-7EBA-3101-1A66-2031F1654F85}"/>
          </ac:spMkLst>
        </pc:spChg>
        <pc:spChg chg="add mod">
          <ac:chgData name="Yang, Shao Peng (T CED INW-CN)" userId="2eb256f4-76e2-427a-8210-07e30b9980ce" providerId="ADAL" clId="{5A9C72F3-D24B-41FB-A66F-E28F3524EEC9}" dt="2024-08-09T02:55:37.159" v="2372" actId="1076"/>
          <ac:spMkLst>
            <pc:docMk/>
            <pc:sldMk cId="348790540" sldId="2147476573"/>
            <ac:spMk id="5" creationId="{8C5C106B-997B-7E45-6503-B37F01208200}"/>
          </ac:spMkLst>
        </pc:spChg>
        <pc:spChg chg="add mod">
          <ac:chgData name="Yang, Shao Peng (T CED INW-CN)" userId="2eb256f4-76e2-427a-8210-07e30b9980ce" providerId="ADAL" clId="{5A9C72F3-D24B-41FB-A66F-E28F3524EEC9}" dt="2024-08-09T03:05:33.302" v="2399" actId="1035"/>
          <ac:spMkLst>
            <pc:docMk/>
            <pc:sldMk cId="348790540" sldId="2147476573"/>
            <ac:spMk id="10" creationId="{B3798D18-59A8-B127-0A85-C650C35DF397}"/>
          </ac:spMkLst>
        </pc:spChg>
        <pc:spChg chg="add mod">
          <ac:chgData name="Yang, Shao Peng (T CED INW-CN)" userId="2eb256f4-76e2-427a-8210-07e30b9980ce" providerId="ADAL" clId="{5A9C72F3-D24B-41FB-A66F-E28F3524EEC9}" dt="2024-08-09T03:06:19.163" v="2443" actId="1076"/>
          <ac:spMkLst>
            <pc:docMk/>
            <pc:sldMk cId="348790540" sldId="2147476573"/>
            <ac:spMk id="17" creationId="{537A1727-721D-8575-01EE-E3F48E4D47FD}"/>
          </ac:spMkLst>
        </pc:spChg>
        <pc:picChg chg="add del mod">
          <ac:chgData name="Yang, Shao Peng (T CED INW-CN)" userId="2eb256f4-76e2-427a-8210-07e30b9980ce" providerId="ADAL" clId="{5A9C72F3-D24B-41FB-A66F-E28F3524EEC9}" dt="2024-08-09T02:54:27.452" v="2364" actId="478"/>
          <ac:picMkLst>
            <pc:docMk/>
            <pc:sldMk cId="348790540" sldId="2147476573"/>
            <ac:picMk id="7" creationId="{3071F5AF-092A-6B43-69AC-41F6C80DA98F}"/>
          </ac:picMkLst>
        </pc:picChg>
        <pc:picChg chg="add mod">
          <ac:chgData name="Yang, Shao Peng (T CED INW-CN)" userId="2eb256f4-76e2-427a-8210-07e30b9980ce" providerId="ADAL" clId="{5A9C72F3-D24B-41FB-A66F-E28F3524EEC9}" dt="2024-08-09T03:05:33.302" v="2399" actId="1035"/>
          <ac:picMkLst>
            <pc:docMk/>
            <pc:sldMk cId="348790540" sldId="2147476573"/>
            <ac:picMk id="9" creationId="{A2B6B8F1-C762-6425-776A-63D304B2962C}"/>
          </ac:picMkLst>
        </pc:picChg>
        <pc:picChg chg="add del mod">
          <ac:chgData name="Yang, Shao Peng (T CED INW-CN)" userId="2eb256f4-76e2-427a-8210-07e30b9980ce" providerId="ADAL" clId="{5A9C72F3-D24B-41FB-A66F-E28F3524EEC9}" dt="2024-08-09T03:04:01.367" v="2377" actId="478"/>
          <ac:picMkLst>
            <pc:docMk/>
            <pc:sldMk cId="348790540" sldId="2147476573"/>
            <ac:picMk id="12" creationId="{AC07E8C4-D03A-76EE-13A1-2382A1D63845}"/>
          </ac:picMkLst>
        </pc:picChg>
        <pc:picChg chg="add mod">
          <ac:chgData name="Yang, Shao Peng (T CED INW-CN)" userId="2eb256f4-76e2-427a-8210-07e30b9980ce" providerId="ADAL" clId="{5A9C72F3-D24B-41FB-A66F-E28F3524EEC9}" dt="2024-08-09T03:06:20.536" v="2444" actId="1076"/>
          <ac:picMkLst>
            <pc:docMk/>
            <pc:sldMk cId="348790540" sldId="2147476573"/>
            <ac:picMk id="14" creationId="{71780292-630C-89C4-EEB9-E304CE079C5D}"/>
          </ac:picMkLst>
        </pc:picChg>
        <pc:picChg chg="add mod">
          <ac:chgData name="Yang, Shao Peng (T CED INW-CN)" userId="2eb256f4-76e2-427a-8210-07e30b9980ce" providerId="ADAL" clId="{5A9C72F3-D24B-41FB-A66F-E28F3524EEC9}" dt="2024-08-09T03:05:29.782" v="2387" actId="14100"/>
          <ac:picMkLst>
            <pc:docMk/>
            <pc:sldMk cId="348790540" sldId="2147476573"/>
            <ac:picMk id="16" creationId="{2CCA5F3B-9D0B-E29C-61E0-1B7336D4424C}"/>
          </ac:picMkLst>
        </pc:picChg>
        <pc:picChg chg="add mod">
          <ac:chgData name="Yang, Shao Peng (T CED INW-CN)" userId="2eb256f4-76e2-427a-8210-07e30b9980ce" providerId="ADAL" clId="{5A9C72F3-D24B-41FB-A66F-E28F3524EEC9}" dt="2024-08-09T02:55:30.856" v="2370" actId="14100"/>
          <ac:picMkLst>
            <pc:docMk/>
            <pc:sldMk cId="348790540" sldId="2147476573"/>
            <ac:picMk id="5122" creationId="{5DBDC4F3-FE4A-B143-69CE-083956E2D020}"/>
          </ac:picMkLst>
        </pc:picChg>
      </pc:sldChg>
      <pc:sldChg chg="addSp modSp add mod ord">
        <pc:chgData name="Yang, Shao Peng (T CED INW-CN)" userId="2eb256f4-76e2-427a-8210-07e30b9980ce" providerId="ADAL" clId="{5A9C72F3-D24B-41FB-A66F-E28F3524EEC9}" dt="2024-08-09T03:07:21.374" v="2464"/>
        <pc:sldMkLst>
          <pc:docMk/>
          <pc:sldMk cId="1366790415" sldId="2147476574"/>
        </pc:sldMkLst>
        <pc:spChg chg="mod">
          <ac:chgData name="Yang, Shao Peng (T CED INW-CN)" userId="2eb256f4-76e2-427a-8210-07e30b9980ce" providerId="ADAL" clId="{5A9C72F3-D24B-41FB-A66F-E28F3524EEC9}" dt="2024-08-08T06:14:21.297" v="1135" actId="20577"/>
          <ac:spMkLst>
            <pc:docMk/>
            <pc:sldMk cId="1366790415" sldId="2147476574"/>
            <ac:spMk id="2" creationId="{272D9516-67D5-13DE-A310-93F66BA535AE}"/>
          </ac:spMkLst>
        </pc:spChg>
        <pc:spChg chg="mod">
          <ac:chgData name="Yang, Shao Peng (T CED INW-CN)" userId="2eb256f4-76e2-427a-8210-07e30b9980ce" providerId="ADAL" clId="{5A9C72F3-D24B-41FB-A66F-E28F3524EEC9}" dt="2024-08-09T03:07:21.374" v="2464"/>
          <ac:spMkLst>
            <pc:docMk/>
            <pc:sldMk cId="1366790415" sldId="2147476574"/>
            <ac:spMk id="3" creationId="{E69FCB63-7EBA-3101-1A66-2031F1654F85}"/>
          </ac:spMkLst>
        </pc:spChg>
        <pc:spChg chg="add mod">
          <ac:chgData name="Yang, Shao Peng (T CED INW-CN)" userId="2eb256f4-76e2-427a-8210-07e30b9980ce" providerId="ADAL" clId="{5A9C72F3-D24B-41FB-A66F-E28F3524EEC9}" dt="2024-08-09T02:17:17.919" v="2098" actId="1076"/>
          <ac:spMkLst>
            <pc:docMk/>
            <pc:sldMk cId="1366790415" sldId="2147476574"/>
            <ac:spMk id="13" creationId="{0C2D998B-F8E9-B42D-E3E1-774D100DB1BB}"/>
          </ac:spMkLst>
        </pc:spChg>
        <pc:spChg chg="add mod">
          <ac:chgData name="Yang, Shao Peng (T CED INW-CN)" userId="2eb256f4-76e2-427a-8210-07e30b9980ce" providerId="ADAL" clId="{5A9C72F3-D24B-41FB-A66F-E28F3524EEC9}" dt="2024-08-09T02:22:25.433" v="2167" actId="1076"/>
          <ac:spMkLst>
            <pc:docMk/>
            <pc:sldMk cId="1366790415" sldId="2147476574"/>
            <ac:spMk id="14" creationId="{4AF13E3A-AA44-3688-DA04-0CB26D9676AD}"/>
          </ac:spMkLst>
        </pc:spChg>
        <pc:spChg chg="add mod">
          <ac:chgData name="Yang, Shao Peng (T CED INW-CN)" userId="2eb256f4-76e2-427a-8210-07e30b9980ce" providerId="ADAL" clId="{5A9C72F3-D24B-41FB-A66F-E28F3524EEC9}" dt="2024-08-09T02:22:14.042" v="2165" actId="1076"/>
          <ac:spMkLst>
            <pc:docMk/>
            <pc:sldMk cId="1366790415" sldId="2147476574"/>
            <ac:spMk id="15" creationId="{DF6F5CBA-2B05-83FF-8F21-E27C8258CE79}"/>
          </ac:spMkLst>
        </pc:spChg>
        <pc:spChg chg="add mod">
          <ac:chgData name="Yang, Shao Peng (T CED INW-CN)" userId="2eb256f4-76e2-427a-8210-07e30b9980ce" providerId="ADAL" clId="{5A9C72F3-D24B-41FB-A66F-E28F3524EEC9}" dt="2024-08-09T02:22:19.457" v="2166" actId="1076"/>
          <ac:spMkLst>
            <pc:docMk/>
            <pc:sldMk cId="1366790415" sldId="2147476574"/>
            <ac:spMk id="16" creationId="{034C9BE6-A193-842A-B21B-AE60D1A9E834}"/>
          </ac:spMkLst>
        </pc:spChg>
        <pc:picChg chg="add mod">
          <ac:chgData name="Yang, Shao Peng (T CED INW-CN)" userId="2eb256f4-76e2-427a-8210-07e30b9980ce" providerId="ADAL" clId="{5A9C72F3-D24B-41FB-A66F-E28F3524EEC9}" dt="2024-08-09T02:20:46" v="2133" actId="1076"/>
          <ac:picMkLst>
            <pc:docMk/>
            <pc:sldMk cId="1366790415" sldId="2147476574"/>
            <ac:picMk id="6" creationId="{604B401A-C2A8-EDBE-1A49-6C1EE31FC1C7}"/>
          </ac:picMkLst>
        </pc:picChg>
        <pc:picChg chg="add mod">
          <ac:chgData name="Yang, Shao Peng (T CED INW-CN)" userId="2eb256f4-76e2-427a-8210-07e30b9980ce" providerId="ADAL" clId="{5A9C72F3-D24B-41FB-A66F-E28F3524EEC9}" dt="2024-08-09T02:22:10.428" v="2164" actId="552"/>
          <ac:picMkLst>
            <pc:docMk/>
            <pc:sldMk cId="1366790415" sldId="2147476574"/>
            <ac:picMk id="8" creationId="{7837C9F6-6918-EEF0-9CF3-3F82AC3C59D9}"/>
          </ac:picMkLst>
        </pc:picChg>
        <pc:picChg chg="add mod">
          <ac:chgData name="Yang, Shao Peng (T CED INW-CN)" userId="2eb256f4-76e2-427a-8210-07e30b9980ce" providerId="ADAL" clId="{5A9C72F3-D24B-41FB-A66F-E28F3524EEC9}" dt="2024-08-09T02:22:37.862" v="2169" actId="1076"/>
          <ac:picMkLst>
            <pc:docMk/>
            <pc:sldMk cId="1366790415" sldId="2147476574"/>
            <ac:picMk id="10" creationId="{09F0C5CA-C12B-A444-9D7A-231E98664CCB}"/>
          </ac:picMkLst>
        </pc:picChg>
        <pc:picChg chg="add mod">
          <ac:chgData name="Yang, Shao Peng (T CED INW-CN)" userId="2eb256f4-76e2-427a-8210-07e30b9980ce" providerId="ADAL" clId="{5A9C72F3-D24B-41FB-A66F-E28F3524EEC9}" dt="2024-08-09T02:22:28.435" v="2168" actId="1076"/>
          <ac:picMkLst>
            <pc:docMk/>
            <pc:sldMk cId="1366790415" sldId="2147476574"/>
            <ac:picMk id="12" creationId="{8434E867-A3D2-212F-9B28-0AB0B6ED2731}"/>
          </ac:picMkLst>
        </pc:picChg>
        <pc:picChg chg="add mod">
          <ac:chgData name="Yang, Shao Peng (T CED INW-CN)" userId="2eb256f4-76e2-427a-8210-07e30b9980ce" providerId="ADAL" clId="{5A9C72F3-D24B-41FB-A66F-E28F3524EEC9}" dt="2024-08-09T02:17:10.584" v="2096" actId="14100"/>
          <ac:picMkLst>
            <pc:docMk/>
            <pc:sldMk cId="1366790415" sldId="2147476574"/>
            <ac:picMk id="3074" creationId="{FFE58DB0-ECD7-F5B4-EEDE-28CB15AB096A}"/>
          </ac:picMkLst>
        </pc:picChg>
      </pc:sldChg>
      <pc:sldChg chg="addSp delSp modSp add mod">
        <pc:chgData name="Yang, Shao Peng (T CED INW-CN)" userId="2eb256f4-76e2-427a-8210-07e30b9980ce" providerId="ADAL" clId="{5A9C72F3-D24B-41FB-A66F-E28F3524EEC9}" dt="2024-08-09T03:17:04.855" v="2590" actId="20577"/>
        <pc:sldMkLst>
          <pc:docMk/>
          <pc:sldMk cId="1563456056" sldId="2147476575"/>
        </pc:sldMkLst>
        <pc:spChg chg="mod">
          <ac:chgData name="Yang, Shao Peng (T CED INW-CN)" userId="2eb256f4-76e2-427a-8210-07e30b9980ce" providerId="ADAL" clId="{5A9C72F3-D24B-41FB-A66F-E28F3524EEC9}" dt="2024-08-09T03:07:25.628" v="2465"/>
          <ac:spMkLst>
            <pc:docMk/>
            <pc:sldMk cId="1563456056" sldId="2147476575"/>
            <ac:spMk id="3" creationId="{E69FCB63-7EBA-3101-1A66-2031F1654F85}"/>
          </ac:spMkLst>
        </pc:spChg>
        <pc:spChg chg="add mod">
          <ac:chgData name="Yang, Shao Peng (T CED INW-CN)" userId="2eb256f4-76e2-427a-8210-07e30b9980ce" providerId="ADAL" clId="{5A9C72F3-D24B-41FB-A66F-E28F3524EEC9}" dt="2024-08-09T02:32:44.145" v="2190" actId="14100"/>
          <ac:spMkLst>
            <pc:docMk/>
            <pc:sldMk cId="1563456056" sldId="2147476575"/>
            <ac:spMk id="9" creationId="{6F4C4DDA-2EDC-9414-B9CA-6CAF6D137C69}"/>
          </ac:spMkLst>
        </pc:spChg>
        <pc:spChg chg="add mod">
          <ac:chgData name="Yang, Shao Peng (T CED INW-CN)" userId="2eb256f4-76e2-427a-8210-07e30b9980ce" providerId="ADAL" clId="{5A9C72F3-D24B-41FB-A66F-E28F3524EEC9}" dt="2024-08-09T02:33:17.399" v="2228" actId="1076"/>
          <ac:spMkLst>
            <pc:docMk/>
            <pc:sldMk cId="1563456056" sldId="2147476575"/>
            <ac:spMk id="10" creationId="{27A40833-4045-DDC7-5530-1604CEE0C1E7}"/>
          </ac:spMkLst>
        </pc:spChg>
        <pc:spChg chg="add mod">
          <ac:chgData name="Yang, Shao Peng (T CED INW-CN)" userId="2eb256f4-76e2-427a-8210-07e30b9980ce" providerId="ADAL" clId="{5A9C72F3-D24B-41FB-A66F-E28F3524EEC9}" dt="2024-08-09T02:33:14.257" v="2227" actId="1076"/>
          <ac:spMkLst>
            <pc:docMk/>
            <pc:sldMk cId="1563456056" sldId="2147476575"/>
            <ac:spMk id="11" creationId="{ACFC6BC6-1A09-E68D-15D0-07178B6B71D6}"/>
          </ac:spMkLst>
        </pc:spChg>
        <pc:spChg chg="add mod">
          <ac:chgData name="Yang, Shao Peng (T CED INW-CN)" userId="2eb256f4-76e2-427a-8210-07e30b9980ce" providerId="ADAL" clId="{5A9C72F3-D24B-41FB-A66F-E28F3524EEC9}" dt="2024-08-09T03:17:04.855" v="2590" actId="20577"/>
          <ac:spMkLst>
            <pc:docMk/>
            <pc:sldMk cId="1563456056" sldId="2147476575"/>
            <ac:spMk id="18" creationId="{927542B4-A46A-4532-7AF2-2B694701DC06}"/>
          </ac:spMkLst>
        </pc:spChg>
        <pc:spChg chg="add del mod">
          <ac:chgData name="Yang, Shao Peng (T CED INW-CN)" userId="2eb256f4-76e2-427a-8210-07e30b9980ce" providerId="ADAL" clId="{5A9C72F3-D24B-41FB-A66F-E28F3524EEC9}" dt="2024-08-09T02:51:20.493" v="2358" actId="21"/>
          <ac:spMkLst>
            <pc:docMk/>
            <pc:sldMk cId="1563456056" sldId="2147476575"/>
            <ac:spMk id="19" creationId="{87C3B680-53C7-6EEB-0C16-942CEE4928FF}"/>
          </ac:spMkLst>
        </pc:spChg>
        <pc:picChg chg="add mod">
          <ac:chgData name="Yang, Shao Peng (T CED INW-CN)" userId="2eb256f4-76e2-427a-8210-07e30b9980ce" providerId="ADAL" clId="{5A9C72F3-D24B-41FB-A66F-E28F3524EEC9}" dt="2024-08-09T02:26:56.069" v="2180" actId="14100"/>
          <ac:picMkLst>
            <pc:docMk/>
            <pc:sldMk cId="1563456056" sldId="2147476575"/>
            <ac:picMk id="6" creationId="{0121FFC0-DAE3-3AED-C637-A7B6C201DEFA}"/>
          </ac:picMkLst>
        </pc:picChg>
        <pc:picChg chg="add mod">
          <ac:chgData name="Yang, Shao Peng (T CED INW-CN)" userId="2eb256f4-76e2-427a-8210-07e30b9980ce" providerId="ADAL" clId="{5A9C72F3-D24B-41FB-A66F-E28F3524EEC9}" dt="2024-08-09T02:31:50.897" v="2187" actId="14100"/>
          <ac:picMkLst>
            <pc:docMk/>
            <pc:sldMk cId="1563456056" sldId="2147476575"/>
            <ac:picMk id="8" creationId="{F6AE8276-BF61-2426-BC8D-11E99F3CF956}"/>
          </ac:picMkLst>
        </pc:picChg>
        <pc:picChg chg="add del mod">
          <ac:chgData name="Yang, Shao Peng (T CED INW-CN)" userId="2eb256f4-76e2-427a-8210-07e30b9980ce" providerId="ADAL" clId="{5A9C72F3-D24B-41FB-A66F-E28F3524EEC9}" dt="2024-08-09T02:34:22.500" v="2231" actId="478"/>
          <ac:picMkLst>
            <pc:docMk/>
            <pc:sldMk cId="1563456056" sldId="2147476575"/>
            <ac:picMk id="13" creationId="{C80DA1A4-1C62-A06F-CA68-2DE396ACCE1A}"/>
          </ac:picMkLst>
        </pc:picChg>
        <pc:picChg chg="add mod">
          <ac:chgData name="Yang, Shao Peng (T CED INW-CN)" userId="2eb256f4-76e2-427a-8210-07e30b9980ce" providerId="ADAL" clId="{5A9C72F3-D24B-41FB-A66F-E28F3524EEC9}" dt="2024-08-09T02:39:27.692" v="2233" actId="1076"/>
          <ac:picMkLst>
            <pc:docMk/>
            <pc:sldMk cId="1563456056" sldId="2147476575"/>
            <ac:picMk id="15" creationId="{420DA8E1-814C-8332-8397-DC9BD7D475DC}"/>
          </ac:picMkLst>
        </pc:picChg>
        <pc:picChg chg="add mod modCrop">
          <ac:chgData name="Yang, Shao Peng (T CED INW-CN)" userId="2eb256f4-76e2-427a-8210-07e30b9980ce" providerId="ADAL" clId="{5A9C72F3-D24B-41FB-A66F-E28F3524EEC9}" dt="2024-08-09T02:41:03.858" v="2237" actId="1076"/>
          <ac:picMkLst>
            <pc:docMk/>
            <pc:sldMk cId="1563456056" sldId="2147476575"/>
            <ac:picMk id="17" creationId="{332A4540-7BF6-07FB-F1F9-CFCD8A6F4947}"/>
          </ac:picMkLst>
        </pc:picChg>
        <pc:picChg chg="add mod">
          <ac:chgData name="Yang, Shao Peng (T CED INW-CN)" userId="2eb256f4-76e2-427a-8210-07e30b9980ce" providerId="ADAL" clId="{5A9C72F3-D24B-41FB-A66F-E28F3524EEC9}" dt="2024-08-09T02:26:16.091" v="2176" actId="1076"/>
          <ac:picMkLst>
            <pc:docMk/>
            <pc:sldMk cId="1563456056" sldId="2147476575"/>
            <ac:picMk id="4098" creationId="{A1D8B08F-DA84-5FFC-DA74-F0BEF7557E34}"/>
          </ac:picMkLst>
        </pc:picChg>
      </pc:sldChg>
      <pc:sldChg chg="addSp delSp modSp add mod">
        <pc:chgData name="Yang, Shao Peng (T CED INW-CN)" userId="2eb256f4-76e2-427a-8210-07e30b9980ce" providerId="ADAL" clId="{5A9C72F3-D24B-41FB-A66F-E28F3524EEC9}" dt="2024-08-09T03:14:00.080" v="2559" actId="1076"/>
        <pc:sldMkLst>
          <pc:docMk/>
          <pc:sldMk cId="1708457416" sldId="2147476576"/>
        </pc:sldMkLst>
        <pc:spChg chg="mod">
          <ac:chgData name="Yang, Shao Peng (T CED INW-CN)" userId="2eb256f4-76e2-427a-8210-07e30b9980ce" providerId="ADAL" clId="{5A9C72F3-D24B-41FB-A66F-E28F3524EEC9}" dt="2024-08-08T06:14:53.397" v="1149" actId="20577"/>
          <ac:spMkLst>
            <pc:docMk/>
            <pc:sldMk cId="1708457416" sldId="2147476576"/>
            <ac:spMk id="2" creationId="{272D9516-67D5-13DE-A310-93F66BA535AE}"/>
          </ac:spMkLst>
        </pc:spChg>
        <pc:spChg chg="mod">
          <ac:chgData name="Yang, Shao Peng (T CED INW-CN)" userId="2eb256f4-76e2-427a-8210-07e30b9980ce" providerId="ADAL" clId="{5A9C72F3-D24B-41FB-A66F-E28F3524EEC9}" dt="2024-08-09T03:07:42.209" v="2467"/>
          <ac:spMkLst>
            <pc:docMk/>
            <pc:sldMk cId="1708457416" sldId="2147476576"/>
            <ac:spMk id="3" creationId="{E69FCB63-7EBA-3101-1A66-2031F1654F85}"/>
          </ac:spMkLst>
        </pc:spChg>
        <pc:spChg chg="add">
          <ac:chgData name="Yang, Shao Peng (T CED INW-CN)" userId="2eb256f4-76e2-427a-8210-07e30b9980ce" providerId="ADAL" clId="{5A9C72F3-D24B-41FB-A66F-E28F3524EEC9}" dt="2024-08-09T03:08:08.427" v="2471"/>
          <ac:spMkLst>
            <pc:docMk/>
            <pc:sldMk cId="1708457416" sldId="2147476576"/>
            <ac:spMk id="5" creationId="{2AEA682B-2CDA-E3A0-486F-680BAEA9FD21}"/>
          </ac:spMkLst>
        </pc:spChg>
        <pc:spChg chg="add del">
          <ac:chgData name="Yang, Shao Peng (T CED INW-CN)" userId="2eb256f4-76e2-427a-8210-07e30b9980ce" providerId="ADAL" clId="{5A9C72F3-D24B-41FB-A66F-E28F3524EEC9}" dt="2024-08-09T03:08:21.121" v="2473" actId="478"/>
          <ac:spMkLst>
            <pc:docMk/>
            <pc:sldMk cId="1708457416" sldId="2147476576"/>
            <ac:spMk id="6" creationId="{8D35BCC0-85B7-93EA-F72C-35C6AC714650}"/>
          </ac:spMkLst>
        </pc:spChg>
        <pc:spChg chg="add mod">
          <ac:chgData name="Yang, Shao Peng (T CED INW-CN)" userId="2eb256f4-76e2-427a-8210-07e30b9980ce" providerId="ADAL" clId="{5A9C72F3-D24B-41FB-A66F-E28F3524EEC9}" dt="2024-08-09T03:12:08.198" v="2519" actId="1076"/>
          <ac:spMkLst>
            <pc:docMk/>
            <pc:sldMk cId="1708457416" sldId="2147476576"/>
            <ac:spMk id="17" creationId="{C6FB8F13-D892-D034-EBBE-5A76B14D6A45}"/>
          </ac:spMkLst>
        </pc:spChg>
        <pc:spChg chg="add del">
          <ac:chgData name="Yang, Shao Peng (T CED INW-CN)" userId="2eb256f4-76e2-427a-8210-07e30b9980ce" providerId="ADAL" clId="{5A9C72F3-D24B-41FB-A66F-E28F3524EEC9}" dt="2024-08-09T03:12:21.675" v="2521" actId="478"/>
          <ac:spMkLst>
            <pc:docMk/>
            <pc:sldMk cId="1708457416" sldId="2147476576"/>
            <ac:spMk id="18" creationId="{536AA15D-F551-8EB3-4F0E-427C6A58C1A7}"/>
          </ac:spMkLst>
        </pc:spChg>
        <pc:spChg chg="add mod">
          <ac:chgData name="Yang, Shao Peng (T CED INW-CN)" userId="2eb256f4-76e2-427a-8210-07e30b9980ce" providerId="ADAL" clId="{5A9C72F3-D24B-41FB-A66F-E28F3524EEC9}" dt="2024-08-09T03:13:39.568" v="2557" actId="1076"/>
          <ac:spMkLst>
            <pc:docMk/>
            <pc:sldMk cId="1708457416" sldId="2147476576"/>
            <ac:spMk id="21" creationId="{95B3DAA3-D4BA-6957-011B-5B10227B4003}"/>
          </ac:spMkLst>
        </pc:spChg>
        <pc:spChg chg="add mod">
          <ac:chgData name="Yang, Shao Peng (T CED INW-CN)" userId="2eb256f4-76e2-427a-8210-07e30b9980ce" providerId="ADAL" clId="{5A9C72F3-D24B-41FB-A66F-E28F3524EEC9}" dt="2024-08-09T03:13:02.814" v="2536" actId="1076"/>
          <ac:spMkLst>
            <pc:docMk/>
            <pc:sldMk cId="1708457416" sldId="2147476576"/>
            <ac:spMk id="22" creationId="{820552F2-16A3-9127-E1A4-3E51020CB77B}"/>
          </ac:spMkLst>
        </pc:spChg>
        <pc:spChg chg="add mod">
          <ac:chgData name="Yang, Shao Peng (T CED INW-CN)" userId="2eb256f4-76e2-427a-8210-07e30b9980ce" providerId="ADAL" clId="{5A9C72F3-D24B-41FB-A66F-E28F3524EEC9}" dt="2024-08-09T03:13:14.539" v="2556" actId="14100"/>
          <ac:spMkLst>
            <pc:docMk/>
            <pc:sldMk cId="1708457416" sldId="2147476576"/>
            <ac:spMk id="23" creationId="{D5AA1E5F-9472-45E5-3B2C-D8D2DE0A6A48}"/>
          </ac:spMkLst>
        </pc:spChg>
        <pc:picChg chg="add mod">
          <ac:chgData name="Yang, Shao Peng (T CED INW-CN)" userId="2eb256f4-76e2-427a-8210-07e30b9980ce" providerId="ADAL" clId="{5A9C72F3-D24B-41FB-A66F-E28F3524EEC9}" dt="2024-08-09T03:11:29.295" v="2503" actId="14100"/>
          <ac:picMkLst>
            <pc:docMk/>
            <pc:sldMk cId="1708457416" sldId="2147476576"/>
            <ac:picMk id="8" creationId="{017B5256-1640-75C9-8534-C289491CEAC0}"/>
          </ac:picMkLst>
        </pc:picChg>
        <pc:picChg chg="add mod">
          <ac:chgData name="Yang, Shao Peng (T CED INW-CN)" userId="2eb256f4-76e2-427a-8210-07e30b9980ce" providerId="ADAL" clId="{5A9C72F3-D24B-41FB-A66F-E28F3524EEC9}" dt="2024-08-09T03:11:30.438" v="2504" actId="1076"/>
          <ac:picMkLst>
            <pc:docMk/>
            <pc:sldMk cId="1708457416" sldId="2147476576"/>
            <ac:picMk id="10" creationId="{DC01F741-483B-E7F9-2E7A-060A1314AB61}"/>
          </ac:picMkLst>
        </pc:picChg>
        <pc:picChg chg="add mod">
          <ac:chgData name="Yang, Shao Peng (T CED INW-CN)" userId="2eb256f4-76e2-427a-8210-07e30b9980ce" providerId="ADAL" clId="{5A9C72F3-D24B-41FB-A66F-E28F3524EEC9}" dt="2024-08-09T03:11:58.564" v="2517" actId="1036"/>
          <ac:picMkLst>
            <pc:docMk/>
            <pc:sldMk cId="1708457416" sldId="2147476576"/>
            <ac:picMk id="12" creationId="{AC3C3451-358E-C54C-021B-04203CD2191C}"/>
          </ac:picMkLst>
        </pc:picChg>
        <pc:picChg chg="add mod modCrop">
          <ac:chgData name="Yang, Shao Peng (T CED INW-CN)" userId="2eb256f4-76e2-427a-8210-07e30b9980ce" providerId="ADAL" clId="{5A9C72F3-D24B-41FB-A66F-E28F3524EEC9}" dt="2024-08-09T03:11:44.690" v="2507" actId="732"/>
          <ac:picMkLst>
            <pc:docMk/>
            <pc:sldMk cId="1708457416" sldId="2147476576"/>
            <ac:picMk id="14" creationId="{357B47B6-8DB2-E900-11DD-6F9B32116A61}"/>
          </ac:picMkLst>
        </pc:picChg>
        <pc:picChg chg="add mod">
          <ac:chgData name="Yang, Shao Peng (T CED INW-CN)" userId="2eb256f4-76e2-427a-8210-07e30b9980ce" providerId="ADAL" clId="{5A9C72F3-D24B-41FB-A66F-E28F3524EEC9}" dt="2024-08-09T03:11:58.564" v="2517" actId="1036"/>
          <ac:picMkLst>
            <pc:docMk/>
            <pc:sldMk cId="1708457416" sldId="2147476576"/>
            <ac:picMk id="16" creationId="{69D41804-BFB1-2991-3500-169B9DFC8ED3}"/>
          </ac:picMkLst>
        </pc:picChg>
        <pc:picChg chg="add mod">
          <ac:chgData name="Yang, Shao Peng (T CED INW-CN)" userId="2eb256f4-76e2-427a-8210-07e30b9980ce" providerId="ADAL" clId="{5A9C72F3-D24B-41FB-A66F-E28F3524EEC9}" dt="2024-08-09T03:13:39.568" v="2557" actId="1076"/>
          <ac:picMkLst>
            <pc:docMk/>
            <pc:sldMk cId="1708457416" sldId="2147476576"/>
            <ac:picMk id="20" creationId="{BDB0A33E-FFCF-282B-361F-FFE24F143013}"/>
          </ac:picMkLst>
        </pc:picChg>
        <pc:picChg chg="add mod">
          <ac:chgData name="Yang, Shao Peng (T CED INW-CN)" userId="2eb256f4-76e2-427a-8210-07e30b9980ce" providerId="ADAL" clId="{5A9C72F3-D24B-41FB-A66F-E28F3524EEC9}" dt="2024-08-09T03:14:00.080" v="2559" actId="1076"/>
          <ac:picMkLst>
            <pc:docMk/>
            <pc:sldMk cId="1708457416" sldId="2147476576"/>
            <ac:picMk id="25" creationId="{90064A38-8A98-B479-A817-F6FB7AE88829}"/>
          </ac:picMkLst>
        </pc:picChg>
      </pc:sldChg>
      <pc:sldChg chg="addSp modSp add mod ord">
        <pc:chgData name="Yang, Shao Peng (T CED INW-CN)" userId="2eb256f4-76e2-427a-8210-07e30b9980ce" providerId="ADAL" clId="{5A9C72F3-D24B-41FB-A66F-E28F3524EEC9}" dt="2024-08-09T03:17:15.258" v="2592"/>
        <pc:sldMkLst>
          <pc:docMk/>
          <pc:sldMk cId="332442884" sldId="2147476577"/>
        </pc:sldMkLst>
        <pc:spChg chg="mod">
          <ac:chgData name="Yang, Shao Peng (T CED INW-CN)" userId="2eb256f4-76e2-427a-8210-07e30b9980ce" providerId="ADAL" clId="{5A9C72F3-D24B-41FB-A66F-E28F3524EEC9}" dt="2024-08-09T01:46:01.620" v="1933" actId="20577"/>
          <ac:spMkLst>
            <pc:docMk/>
            <pc:sldMk cId="332442884" sldId="2147476577"/>
            <ac:spMk id="2" creationId="{272D9516-67D5-13DE-A310-93F66BA535AE}"/>
          </ac:spMkLst>
        </pc:spChg>
        <pc:spChg chg="mod">
          <ac:chgData name="Yang, Shao Peng (T CED INW-CN)" userId="2eb256f4-76e2-427a-8210-07e30b9980ce" providerId="ADAL" clId="{5A9C72F3-D24B-41FB-A66F-E28F3524EEC9}" dt="2024-08-09T03:07:47.990" v="2469"/>
          <ac:spMkLst>
            <pc:docMk/>
            <pc:sldMk cId="332442884" sldId="2147476577"/>
            <ac:spMk id="3" creationId="{E69FCB63-7EBA-3101-1A66-2031F1654F85}"/>
          </ac:spMkLst>
        </pc:spChg>
        <pc:spChg chg="add mod">
          <ac:chgData name="Yang, Shao Peng (T CED INW-CN)" userId="2eb256f4-76e2-427a-8210-07e30b9980ce" providerId="ADAL" clId="{5A9C72F3-D24B-41FB-A66F-E28F3524EEC9}" dt="2024-08-09T02:47:19.820" v="2356"/>
          <ac:spMkLst>
            <pc:docMk/>
            <pc:sldMk cId="332442884" sldId="2147476577"/>
            <ac:spMk id="5" creationId="{90BBCC6F-E993-1744-9FBF-50901A791391}"/>
          </ac:spMkLst>
        </pc:spChg>
      </pc:sldChg>
      <pc:sldChg chg="modSp new mod">
        <pc:chgData name="Yang, Shao Peng (T CED INW-CN)" userId="2eb256f4-76e2-427a-8210-07e30b9980ce" providerId="ADAL" clId="{5A9C72F3-D24B-41FB-A66F-E28F3524EEC9}" dt="2024-08-09T03:07:45.046" v="2468"/>
        <pc:sldMkLst>
          <pc:docMk/>
          <pc:sldMk cId="2313548509" sldId="2147476578"/>
        </pc:sldMkLst>
        <pc:spChg chg="mod">
          <ac:chgData name="Yang, Shao Peng (T CED INW-CN)" userId="2eb256f4-76e2-427a-8210-07e30b9980ce" providerId="ADAL" clId="{5A9C72F3-D24B-41FB-A66F-E28F3524EEC9}" dt="2024-08-09T01:47:06.435" v="1965" actId="403"/>
          <ac:spMkLst>
            <pc:docMk/>
            <pc:sldMk cId="2313548509" sldId="2147476578"/>
            <ac:spMk id="2" creationId="{B535AF09-28FC-6212-7D3E-CBE702363C4D}"/>
          </ac:spMkLst>
        </pc:spChg>
        <pc:spChg chg="mod">
          <ac:chgData name="Yang, Shao Peng (T CED INW-CN)" userId="2eb256f4-76e2-427a-8210-07e30b9980ce" providerId="ADAL" clId="{5A9C72F3-D24B-41FB-A66F-E28F3524EEC9}" dt="2024-08-09T03:07:45.046" v="2468"/>
          <ac:spMkLst>
            <pc:docMk/>
            <pc:sldMk cId="2313548509" sldId="2147476578"/>
            <ac:spMk id="3" creationId="{49E29DD2-1D61-EA1D-5298-DF1E94436F77}"/>
          </ac:spMkLst>
        </pc:spChg>
      </pc:sldChg>
      <pc:sldChg chg="addSp delSp modSp new mod">
        <pc:chgData name="Yang, Shao Peng (T CED INW-CN)" userId="2eb256f4-76e2-427a-8210-07e30b9980ce" providerId="ADAL" clId="{5A9C72F3-D24B-41FB-A66F-E28F3524EEC9}" dt="2024-08-09T03:07:50.300" v="2470"/>
        <pc:sldMkLst>
          <pc:docMk/>
          <pc:sldMk cId="1910271276" sldId="2147476579"/>
        </pc:sldMkLst>
        <pc:spChg chg="del">
          <ac:chgData name="Yang, Shao Peng (T CED INW-CN)" userId="2eb256f4-76e2-427a-8210-07e30b9980ce" providerId="ADAL" clId="{5A9C72F3-D24B-41FB-A66F-E28F3524EEC9}" dt="2024-08-09T01:47:12.050" v="1967" actId="478"/>
          <ac:spMkLst>
            <pc:docMk/>
            <pc:sldMk cId="1910271276" sldId="2147476579"/>
            <ac:spMk id="2" creationId="{C8381A01-AEBC-A7EE-A3B2-EA2E7DEFB3DE}"/>
          </ac:spMkLst>
        </pc:spChg>
        <pc:spChg chg="mod">
          <ac:chgData name="Yang, Shao Peng (T CED INW-CN)" userId="2eb256f4-76e2-427a-8210-07e30b9980ce" providerId="ADAL" clId="{5A9C72F3-D24B-41FB-A66F-E28F3524EEC9}" dt="2024-08-09T03:07:50.300" v="2470"/>
          <ac:spMkLst>
            <pc:docMk/>
            <pc:sldMk cId="1910271276" sldId="2147476579"/>
            <ac:spMk id="3" creationId="{FBF0329B-DCFB-8E7A-14D1-A6A035BEAD0F}"/>
          </ac:spMkLst>
        </pc:spChg>
        <pc:picChg chg="add mod">
          <ac:chgData name="Yang, Shao Peng (T CED INW-CN)" userId="2eb256f4-76e2-427a-8210-07e30b9980ce" providerId="ADAL" clId="{5A9C72F3-D24B-41FB-A66F-E28F3524EEC9}" dt="2024-08-09T01:47:34.585" v="1972" actId="27614"/>
          <ac:picMkLst>
            <pc:docMk/>
            <pc:sldMk cId="1910271276" sldId="2147476579"/>
            <ac:picMk id="6" creationId="{8A82762F-EF99-6AEF-29C2-E8E612F56FF2}"/>
          </ac:picMkLst>
        </pc:picChg>
        <pc:picChg chg="add mod">
          <ac:chgData name="Yang, Shao Peng (T CED INW-CN)" userId="2eb256f4-76e2-427a-8210-07e30b9980ce" providerId="ADAL" clId="{5A9C72F3-D24B-41FB-A66F-E28F3524EEC9}" dt="2024-08-09T02:43:20.301" v="2349" actId="14100"/>
          <ac:picMkLst>
            <pc:docMk/>
            <pc:sldMk cId="1910271276" sldId="2147476579"/>
            <ac:picMk id="8" creationId="{A091384D-ED88-E101-F335-1060FCF0654F}"/>
          </ac:picMkLst>
        </pc:picChg>
      </pc:sldChg>
      <pc:sldChg chg="addSp modSp add mod ord">
        <pc:chgData name="Yang, Shao Peng (T CED INW-CN)" userId="2eb256f4-76e2-427a-8210-07e30b9980ce" providerId="ADAL" clId="{5A9C72F3-D24B-41FB-A66F-E28F3524EEC9}" dt="2024-08-09T06:14:21.221" v="2757" actId="14100"/>
        <pc:sldMkLst>
          <pc:docMk/>
          <pc:sldMk cId="3156418095" sldId="2147476580"/>
        </pc:sldMkLst>
        <pc:spChg chg="mod">
          <ac:chgData name="Yang, Shao Peng (T CED INW-CN)" userId="2eb256f4-76e2-427a-8210-07e30b9980ce" providerId="ADAL" clId="{5A9C72F3-D24B-41FB-A66F-E28F3524EEC9}" dt="2024-08-09T06:10:18.127" v="2607" actId="20577"/>
          <ac:spMkLst>
            <pc:docMk/>
            <pc:sldMk cId="3156418095" sldId="2147476580"/>
            <ac:spMk id="2" creationId="{B535AF09-28FC-6212-7D3E-CBE702363C4D}"/>
          </ac:spMkLst>
        </pc:spChg>
        <pc:spChg chg="add mod">
          <ac:chgData name="Yang, Shao Peng (T CED INW-CN)" userId="2eb256f4-76e2-427a-8210-07e30b9980ce" providerId="ADAL" clId="{5A9C72F3-D24B-41FB-A66F-E28F3524EEC9}" dt="2024-08-09T06:14:21.221" v="2757" actId="14100"/>
          <ac:spMkLst>
            <pc:docMk/>
            <pc:sldMk cId="3156418095" sldId="2147476580"/>
            <ac:spMk id="5" creationId="{6A8E6170-123D-8253-B5FB-05DA821D372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>
                <a:solidFill>
                  <a:schemeClr val="tx2"/>
                </a:solidFill>
                <a:latin typeface="+mn-lt"/>
              </a:rPr>
              <a:t>8/13/2024</a:t>
            </a:fld>
            <a:endParaRPr lang="en-US" sz="105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 dirty="0">
                <a:solidFill>
                  <a:schemeClr val="accent2"/>
                </a:solidFill>
                <a:latin typeface="+mn-lt"/>
              </a:rPr>
              <a:t>Hand out</a:t>
            </a:r>
            <a:r>
              <a:rPr lang="en-US" sz="1050" dirty="0">
                <a:solidFill>
                  <a:schemeClr val="accent2"/>
                </a:solidFill>
                <a:latin typeface="+mn-lt"/>
              </a:rPr>
              <a:t> </a:t>
            </a:r>
            <a:fld id="{C92BABF8-1341-4DCB-864A-D83C08BEEAE4}" type="slidenum">
              <a:rPr lang="en-US" sz="1050" smtClean="0">
                <a:solidFill>
                  <a:schemeClr val="tx2"/>
                </a:solidFill>
                <a:latin typeface="+mn-lt"/>
              </a:rPr>
              <a:t>‹#›</a:t>
            </a:fld>
            <a:endParaRPr lang="en-US" sz="105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76FBC1AF-E4C9-412F-9B6D-66CD520F95DB}" type="datetimeFigureOut">
              <a:rPr lang="en-US" smtClean="0"/>
              <a:pPr/>
              <a:t>8/13/2024</a:t>
            </a:fld>
            <a:endParaRPr lang="en-US" dirty="0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8.sv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20.sv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20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8.sv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20.sv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20.sv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4ACD350-2085-8F48-3205-F539E2AB92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515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ACD350-2085-8F48-3205-F539E2AB9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DD280EF-360F-31B2-05D0-7E6D02F47C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785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280EF-360F-31B2-05D0-7E6D02F47C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662922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757BD53-1CD3-B168-B135-7A59343DC3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4277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57BD53-1CD3-B168-B135-7A59343DC3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792413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E1EF859-2039-7AAA-CD2D-90F8A11DFE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8460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1EF859-2039-7AAA-CD2D-90F8A11DF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8740176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D93EE01-87C9-CCAC-F196-1C1B2BFB6E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2605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93EE01-87C9-CCAC-F196-1C1B2BFB6E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116023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0A3B24E-549F-1EA9-583E-2DFB814A5C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5702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A3B24E-549F-1EA9-583E-2DFB814A5C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7132854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71CDCE3-739C-7D23-52B6-6CBB795AB2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992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1CDCE3-739C-7D23-52B6-6CBB795AB2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502166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E875482-78BD-C29C-1556-B629E023CB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0985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875482-78BD-C29C-1556-B629E023C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22370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5B76DB3-89BC-89F0-E565-EFE5A889CE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9411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B76DB3-89BC-89F0-E565-EFE5A889C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093362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A99D1D9-6FBF-DFFA-1562-5759F028A6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0863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99D1D9-6FBF-DFFA-1562-5759F028A6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4779771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2BB9E4D-02AD-7FDD-CF69-9340D7A746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0429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BB9E4D-02AD-7FDD-CF69-9340D7A746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3220784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1EA46E2-67FD-2EF7-F5AD-FD0D3BAA37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16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EA46E2-67FD-2EF7-F5AD-FD0D3BAA37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CA15749-9E78-502B-2ECE-66C70D6653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5261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A15749-9E78-502B-2ECE-66C70D6653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4960269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CD976E4-45E9-64CE-7DCF-F6F721B8A0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8730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D976E4-45E9-64CE-7DCF-F6F721B8A0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223687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70453E7-30BD-8DC3-C6CB-65BFF976CD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0093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0453E7-30BD-8DC3-C6CB-65BFF976CD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666566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C67535B-DD6C-50C5-7CDB-DE7860093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9447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67535B-DD6C-50C5-7CDB-DE7860093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804166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D11F8AC-4282-E6C2-8201-0162B99B10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294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11F8AC-4282-E6C2-8201-0162B99B1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358240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9E01C3B-941E-E575-A0F1-589786C19A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1848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E01C3B-941E-E575-A0F1-589786C19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67889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3DF1395-6036-A1E9-E5AF-D02C5E8151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3355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DF1395-6036-A1E9-E5AF-D02C5E8151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9087869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401DE5A-D4C2-F329-D3C0-3FA542F7B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9671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01DE5A-D4C2-F329-D3C0-3FA542F7B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280640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944CF11-8491-AAAF-35FC-8C13D03452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521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44CF11-8491-AAAF-35FC-8C13D03452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76341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BD2DDFA-18CE-8433-D558-B2D15BE2CD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9953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D2DDFA-18CE-8433-D558-B2D15BE2C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191606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C153105-7C10-9F5B-CB83-E1119F120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718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153105-7C10-9F5B-CB83-E1119F120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028DD6C-C821-F056-AA8B-D873413761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9554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28DD6C-C821-F056-AA8B-D87341376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945772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5DE5BB5-FB36-1A21-87BB-22B99C9AD8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0916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DE5BB5-FB36-1A21-87BB-22B99C9AD8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619BE6C-E736-E741-3B3D-9AF91A04B2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721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19BE6C-E736-E741-3B3D-9AF91A04B2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4ACBC0E-025F-6458-C2D7-C1F8E8027A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2600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ACBC0E-025F-6458-C2D7-C1F8E8027A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2548E73-7FB9-7999-40C7-9B2FB4C341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915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548E73-7FB9-7999-40C7-9B2FB4C341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0009725-FE02-4BE6-169D-91B6848B4D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01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009725-FE02-4BE6-169D-91B6848B4D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36E582E-CEA1-E555-2980-9B41D60EC1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236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6E582E-CEA1-E555-2980-9B41D60EC1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758683B-C6D0-0DC7-7E24-9267352A0B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3071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58683B-C6D0-0DC7-7E24-9267352A0B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426E0EB-B4CE-B475-46E9-A3C2C7109A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408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26E0EB-B4CE-B475-46E9-A3C2C7109A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D099395-E690-A11A-5826-0A5B170732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3282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099395-E690-A11A-5826-0A5B170732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01D03A4-D54A-7588-D319-4C37E229C8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1937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1D03A4-D54A-7588-D319-4C37E229C8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246279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2CDFD52-A419-4CB9-9F4A-230008505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4148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CDFD52-A419-4CB9-9F4A-230008505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vert="horz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EB2376A-DC38-D9BA-6D17-ACB41B6750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958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2376A-DC38-D9BA-6D17-ACB41B6750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vert="horz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4DEB1CF-4742-17EC-EC0B-EB8C015EB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8893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DEB1CF-4742-17EC-EC0B-EB8C015EB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71A7EC-A225-A0FD-537D-2B37F2889F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108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71A7EC-A225-A0FD-537D-2B37F2889F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vert="horz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4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858EC38-CEB7-C601-3B07-D1597311CC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3773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58EC38-CEB7-C601-3B07-D1597311CC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vert="horz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04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DBD50E3-57BE-EBFA-3079-B2CDCEDD3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1248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BD50E3-57BE-EBFA-3079-B2CDCEDD3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 dirty="0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383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E6D4046-4F72-E9D5-F667-650C6DED47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439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6D4046-4F72-E9D5-F667-650C6DED47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vert="horz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5A869BD-6484-4C62-AC97-4B031BC3FF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6146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A869BD-6484-4C62-AC97-4B031BC3FF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vert="horz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3494405-04F6-9E89-7707-990C3471D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607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494405-04F6-9E89-7707-990C3471D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E410CDF-C32F-9868-4B66-CB614BF60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914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410CDF-C32F-9868-4B66-CB614BF60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py 1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6243FC5-EF6D-0588-6626-086D576446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6897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243FC5-EF6D-0588-6626-086D576446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15136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CCF3939-104E-4533-5342-43CA185C60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1896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CF3939-104E-4533-5342-43CA185C60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py 1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py 2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3635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E3304D9-4A06-38F1-40DC-66382384C9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2836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3304D9-4A06-38F1-40DC-66382384C9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7317C0D-012B-F64E-80F5-B756255D03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1691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317C0D-012B-F64E-80F5-B756255D03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vert="horz"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1E70824-7E04-DF6C-FAB2-C433A30DD1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7696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E70824-7E04-DF6C-FAB2-C433A30DD1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vert="horz"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007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A5CA24E-8A31-AB7B-AE01-A5FC9CFB2F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7180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5CA24E-8A31-AB7B-AE01-A5FC9CFB2F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ematic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vert="horz"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45A84D-29F5-CC94-4419-4AFF61AF26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8556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45A84D-29F5-CC94-4419-4AFF61AF26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E3A4404-4E03-B60E-781E-95FBB7A50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4307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3A4404-4E03-B60E-781E-95FBB7A50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73341F1-E402-C86C-9EEF-C0366ACC57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332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3341F1-E402-C86C-9EEF-C0366ACC57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819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F9C4EBA-5642-BF95-1361-871AA147EC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337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9C4EBA-5642-BF95-1361-871AA147EC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526377E-315A-AB43-FFBE-3CBC1A2BA5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46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26377E-315A-AB43-FFBE-3CBC1A2BA5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51FB57B-BA22-ED1A-A4C5-5369C3FCB4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164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1FB57B-BA22-ED1A-A4C5-5369C3FCB4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9208743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E855679-E55A-18F1-BA36-D6E8D3C222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059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855679-E55A-18F1-BA36-D6E8D3C222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3778F80-E566-149B-FC90-E6B71972DF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0431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778F80-E566-149B-FC90-E6B71972DF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E0AA8C1-FE9C-9EB3-5D1C-3A6DDA571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666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0AA8C1-FE9C-9EB3-5D1C-3A6DDA571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44248AE-D619-DFF4-7852-21AF46CF7E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8255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4248AE-D619-DFF4-7852-21AF46CF7E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 dirty="0"/>
              <a:t>Thematic pictur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D9E8374-764D-2567-04CB-4865135739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2719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9E8374-764D-2567-04CB-4865135739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FE451BA-69DC-807E-E2B0-3C9E4198A0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4053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E451BA-69DC-807E-E2B0-3C9E4198A0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F00B83D-427A-9447-DB00-A375C711C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049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00B83D-427A-9447-DB00-A375C711C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 vert="horz"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283810D-1125-897C-A36C-78EACF8C3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865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83810D-1125-897C-A36C-78EACF8C3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 vert="horz"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7A240EC-E89C-6A20-C136-899CBB44D2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2935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A240EC-E89C-6A20-C136-899CBB44D2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vert="horz"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0629F68-64C5-B9C0-6A63-E10C0C56E6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5979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29F68-64C5-B9C0-6A63-E10C0C56E6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vert="horz"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221F0C1-13DD-1ED4-B430-2A19984132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6978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21F0C1-13DD-1ED4-B430-2A19984132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291605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227F2F2-783B-86B6-516F-378ADABA12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7022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27F2F2-783B-86B6-516F-378ADABA12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vert="horz"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Skills etc.</a:t>
            </a:r>
          </a:p>
          <a:p>
            <a:pPr lvl="3"/>
            <a:r>
              <a:rPr lang="en-US" dirty="0"/>
              <a:t>Name etc. sublevel</a:t>
            </a:r>
          </a:p>
          <a:p>
            <a:pPr lvl="4"/>
            <a:r>
              <a:rPr lang="en-US" dirty="0"/>
              <a:t>Skills etc. sublevel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101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9B13AB2D-EB82-E441-9749-569655D027F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</p:spTree>
    <p:extLst>
      <p:ext uri="{BB962C8B-B14F-4D97-AF65-F5344CB8AC3E}">
        <p14:creationId xmlns:p14="http://schemas.microsoft.com/office/powerpoint/2010/main" val="2263364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F75465B3-8CB9-E641-A2ED-B1D7EB27A5A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</p:spTree>
    <p:extLst>
      <p:ext uri="{BB962C8B-B14F-4D97-AF65-F5344CB8AC3E}">
        <p14:creationId xmlns:p14="http://schemas.microsoft.com/office/powerpoint/2010/main" val="4893210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21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20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838E178-43E3-FE4C-BD10-8908E98EDD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</p:spTree>
    <p:extLst>
      <p:ext uri="{BB962C8B-B14F-4D97-AF65-F5344CB8AC3E}">
        <p14:creationId xmlns:p14="http://schemas.microsoft.com/office/powerpoint/2010/main" val="3637979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54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E2E270DA-8D5F-054A-9810-23F1856B40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</p:spTree>
    <p:extLst>
      <p:ext uri="{BB962C8B-B14F-4D97-AF65-F5344CB8AC3E}">
        <p14:creationId xmlns:p14="http://schemas.microsoft.com/office/powerpoint/2010/main" val="2985267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4087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220E6D8-48FD-2187-CC2E-E2457BE8A1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7305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20E6D8-48FD-2187-CC2E-E2457BE8A1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15397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93FAEAC-5682-7C4B-A244-A00E649D7E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</p:spTree>
    <p:extLst>
      <p:ext uri="{BB962C8B-B14F-4D97-AF65-F5344CB8AC3E}">
        <p14:creationId xmlns:p14="http://schemas.microsoft.com/office/powerpoint/2010/main" val="863929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93FB61BD-9A4A-4E43-92A1-C039F432D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</p:spTree>
    <p:extLst>
      <p:ext uri="{BB962C8B-B14F-4D97-AF65-F5344CB8AC3E}">
        <p14:creationId xmlns:p14="http://schemas.microsoft.com/office/powerpoint/2010/main" val="453718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1524000" y="1322962"/>
            <a:ext cx="9144000" cy="2187001"/>
          </a:xfrm>
        </p:spPr>
        <p:txBody>
          <a:bodyPr anchor="b">
            <a:normAutofit/>
          </a:bodyPr>
          <a:lstStyle>
            <a:lvl1pPr algn="ctr">
              <a:lnSpc>
                <a:spcPct val="130000"/>
              </a:lnSpc>
              <a:defRPr sz="6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 dirty="0"/>
              <a:t>单击此处添加标题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j-lt"/>
                <a:ea typeface="+mj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副标题</a:t>
            </a:r>
          </a:p>
        </p:txBody>
      </p:sp>
    </p:spTree>
    <p:extLst>
      <p:ext uri="{BB962C8B-B14F-4D97-AF65-F5344CB8AC3E}">
        <p14:creationId xmlns:p14="http://schemas.microsoft.com/office/powerpoint/2010/main" val="27975957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258445"/>
            <a:ext cx="10515600" cy="1325563"/>
          </a:xfrm>
        </p:spPr>
        <p:txBody>
          <a:bodyPr anchor="ctr" anchorCtr="0">
            <a:normAutofit/>
          </a:bodyPr>
          <a:lstStyle>
            <a:lvl1pPr>
              <a:defRPr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47700" y="1825625"/>
            <a:ext cx="10515600" cy="435133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5262911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744961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615609"/>
            <a:ext cx="5157787" cy="3574054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744961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615609"/>
            <a:ext cx="5183188" cy="3574054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4/8/13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60098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634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9B13AB2D-EB82-E441-9749-569655D027F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</p:spTree>
    <p:extLst>
      <p:ext uri="{BB962C8B-B14F-4D97-AF65-F5344CB8AC3E}">
        <p14:creationId xmlns:p14="http://schemas.microsoft.com/office/powerpoint/2010/main" val="2495502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F75465B3-8CB9-E641-A2ED-B1D7EB27A5A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</p:spTree>
    <p:extLst>
      <p:ext uri="{BB962C8B-B14F-4D97-AF65-F5344CB8AC3E}">
        <p14:creationId xmlns:p14="http://schemas.microsoft.com/office/powerpoint/2010/main" val="42059489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2350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851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B1DE4F0-3D4A-B471-CFF7-2B4936FB9D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9123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1DE4F0-3D4A-B471-CFF7-2B4936FB9D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361385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838E178-43E3-FE4C-BD10-8908E98EDD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</p:spTree>
    <p:extLst>
      <p:ext uri="{BB962C8B-B14F-4D97-AF65-F5344CB8AC3E}">
        <p14:creationId xmlns:p14="http://schemas.microsoft.com/office/powerpoint/2010/main" val="3653875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0345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E2E270DA-8D5F-054A-9810-23F1856B40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</p:spTree>
    <p:extLst>
      <p:ext uri="{BB962C8B-B14F-4D97-AF65-F5344CB8AC3E}">
        <p14:creationId xmlns:p14="http://schemas.microsoft.com/office/powerpoint/2010/main" val="23540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3873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93FAEAC-5682-7C4B-A244-A00E649D7E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</p:spTree>
    <p:extLst>
      <p:ext uri="{BB962C8B-B14F-4D97-AF65-F5344CB8AC3E}">
        <p14:creationId xmlns:p14="http://schemas.microsoft.com/office/powerpoint/2010/main" val="1549922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93FB61BD-9A4A-4E43-92A1-C039F432D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/>
              <a:t>Unrestricted © Siemens 2023 | DI FA MF PCF | siemens.com/sigreen</a:t>
            </a:r>
          </a:p>
        </p:txBody>
      </p:sp>
    </p:spTree>
    <p:extLst>
      <p:ext uri="{BB962C8B-B14F-4D97-AF65-F5344CB8AC3E}">
        <p14:creationId xmlns:p14="http://schemas.microsoft.com/office/powerpoint/2010/main" val="1585487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image" Target="../media/image15.emf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oleObject" Target="../embeddings/oleObject72.bin"/><Relationship Id="rId2" Type="http://schemas.openxmlformats.org/officeDocument/2006/relationships/slideLayout" Target="../slideLayouts/slideLayout72.xml"/><Relationship Id="rId16" Type="http://schemas.openxmlformats.org/officeDocument/2006/relationships/tags" Target="../tags/tag73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ags" Target="../tags/tag74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image" Target="../media/image15.emf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oleObject" Target="../embeddings/oleObject7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8D20EDB-20A8-D7FC-21E5-11777097B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1804038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3" imgW="639" imgH="642" progId="TCLayout.ActiveDocument.1">
                  <p:embed/>
                </p:oleObj>
              </mc:Choice>
              <mc:Fallback>
                <p:oleObj name="think-cell Slide" r:id="rId73" imgW="639" imgH="64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8D20EDB-20A8-D7FC-21E5-11777097B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76" r:id="rId4"/>
    <p:sldLayoutId id="2147483777" r:id="rId5"/>
    <p:sldLayoutId id="2147483778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73" r:id="rId13"/>
    <p:sldLayoutId id="2147483774" r:id="rId14"/>
    <p:sldLayoutId id="2147483775" r:id="rId15"/>
    <p:sldLayoutId id="2147483781" r:id="rId16"/>
    <p:sldLayoutId id="2147483782" r:id="rId17"/>
    <p:sldLayoutId id="2147483783" r:id="rId18"/>
    <p:sldLayoutId id="2147483790" r:id="rId19"/>
    <p:sldLayoutId id="2147483791" r:id="rId20"/>
    <p:sldLayoutId id="2147483792" r:id="rId21"/>
    <p:sldLayoutId id="2147483770" r:id="rId22"/>
    <p:sldLayoutId id="2147483771" r:id="rId23"/>
    <p:sldLayoutId id="2147483772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24" r:id="rId31"/>
    <p:sldLayoutId id="2147483725" r:id="rId32"/>
    <p:sldLayoutId id="2147483726" r:id="rId33"/>
    <p:sldLayoutId id="2147483730" r:id="rId34"/>
    <p:sldLayoutId id="2147483731" r:id="rId35"/>
    <p:sldLayoutId id="2147483732" r:id="rId36"/>
    <p:sldLayoutId id="2147483727" r:id="rId37"/>
    <p:sldLayoutId id="2147483728" r:id="rId38"/>
    <p:sldLayoutId id="2147483729" r:id="rId39"/>
    <p:sldLayoutId id="2147483736" r:id="rId40"/>
    <p:sldLayoutId id="2147483737" r:id="rId41"/>
    <p:sldLayoutId id="2147483738" r:id="rId42"/>
    <p:sldLayoutId id="2147483753" r:id="rId43"/>
    <p:sldLayoutId id="2147483754" r:id="rId44"/>
    <p:sldLayoutId id="2147483755" r:id="rId45"/>
    <p:sldLayoutId id="2147483739" r:id="rId46"/>
    <p:sldLayoutId id="2147483740" r:id="rId47"/>
    <p:sldLayoutId id="2147483741" r:id="rId48"/>
    <p:sldLayoutId id="2147483744" r:id="rId49"/>
    <p:sldLayoutId id="2147483756" r:id="rId50"/>
    <p:sldLayoutId id="2147483655" r:id="rId51"/>
    <p:sldLayoutId id="2147483677" r:id="rId52"/>
    <p:sldLayoutId id="2147483779" r:id="rId53"/>
    <p:sldLayoutId id="2147483709" r:id="rId54"/>
    <p:sldLayoutId id="2147483691" r:id="rId55"/>
    <p:sldLayoutId id="2147483692" r:id="rId56"/>
    <p:sldLayoutId id="2147483780" r:id="rId57"/>
    <p:sldLayoutId id="2147483650" r:id="rId58"/>
    <p:sldLayoutId id="2147483665" r:id="rId59"/>
    <p:sldLayoutId id="2147483666" r:id="rId60"/>
    <p:sldLayoutId id="2147483697" r:id="rId61"/>
    <p:sldLayoutId id="2147483698" r:id="rId62"/>
    <p:sldLayoutId id="2147483652" r:id="rId63"/>
    <p:sldLayoutId id="2147483694" r:id="rId64"/>
    <p:sldLayoutId id="2147483687" r:id="rId65"/>
    <p:sldLayoutId id="2147483690" r:id="rId66"/>
    <p:sldLayoutId id="2147483681" r:id="rId67"/>
    <p:sldLayoutId id="2147483682" r:id="rId68"/>
    <p:sldLayoutId id="2147483711" r:id="rId69"/>
    <p:sldLayoutId id="2147483678" r:id="rId7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16B384C-F452-49DF-BCC4-EFCCFA6484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975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408" imgH="408" progId="TCLayout.ActiveDocument.1">
                  <p:embed/>
                </p:oleObj>
              </mc:Choice>
              <mc:Fallback>
                <p:oleObj name="think-cell Folie" r:id="rId17" imgW="408" imgH="40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16B384C-F452-49DF-BCC4-EFCCFA6484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/>
              <a:t>Unrestricted © Siemens 2023 | DI FA MF PCF | siemens.com/sigreen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507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Siemens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16B384C-F452-49DF-BCC4-EFCCFA6484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12595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08" imgH="408" progId="TCLayout.ActiveDocument.1">
                  <p:embed/>
                </p:oleObj>
              </mc:Choice>
              <mc:Fallback>
                <p:oleObj name="think-cell Folie" r:id="rId14" imgW="408" imgH="40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16B384C-F452-49DF-BCC4-EFCCFA6484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/>
              <a:t>Unrestricted © Siemens 2023 | DI FA MF PCF | siemens.com/sigreen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053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Siemens Sans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iemens Sans" pitchFamily="2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5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towardsai.net/p/artificial-intelligence/timesfm-googles-foundational-model-for-time-series-forecasting" TargetMode="External"/><Relationship Id="rId2" Type="http://schemas.openxmlformats.org/officeDocument/2006/relationships/hyperlink" Target="https://segmentfault.com/a/1190000045077561" TargetMode="External"/><Relationship Id="rId1" Type="http://schemas.openxmlformats.org/officeDocument/2006/relationships/slideLayout" Target="../slideLayouts/slideLayout55.xml"/><Relationship Id="rId5" Type="http://schemas.openxmlformats.org/officeDocument/2006/relationships/hyperlink" Target="https://auto.gluon.ai/stable/tutorials/timeseries/forecasting-chronos.html" TargetMode="External"/><Relationship Id="rId4" Type="http://schemas.openxmlformats.org/officeDocument/2006/relationships/hyperlink" Target="https://github.com/lhw828/timesfm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moment-timeseries-foundation-model/moment" TargetMode="External"/><Relationship Id="rId3" Type="http://schemas.openxmlformats.org/officeDocument/2006/relationships/slideLayout" Target="../slideLayouts/slideLayout55.xml"/><Relationship Id="rId7" Type="http://schemas.openxmlformats.org/officeDocument/2006/relationships/hyperlink" Target="https://github.com/Nixtla/nixtla" TargetMode="External"/><Relationship Id="rId12" Type="http://schemas.openxmlformats.org/officeDocument/2006/relationships/hyperlink" Target="https://docs.nixtla.io/docs/getting-started-faq" TargetMode="Externa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hyperlink" Target="https://github.com/google-research/timesfm" TargetMode="External"/><Relationship Id="rId11" Type="http://schemas.openxmlformats.org/officeDocument/2006/relationships/hyperlink" Target="https://code.siemens.com/bam-dav-cn/gtt-service/gtt-client" TargetMode="External"/><Relationship Id="rId5" Type="http://schemas.openxmlformats.org/officeDocument/2006/relationships/image" Target="../media/image23.emf"/><Relationship Id="rId10" Type="http://schemas.openxmlformats.org/officeDocument/2006/relationships/hyperlink" Target="https://github.com/amazon-science/chronos-forecasting" TargetMode="External"/><Relationship Id="rId4" Type="http://schemas.openxmlformats.org/officeDocument/2006/relationships/oleObject" Target="../embeddings/oleObject75.bin"/><Relationship Id="rId9" Type="http://schemas.openxmlformats.org/officeDocument/2006/relationships/hyperlink" Target="https://github.com/time-series-foundation-models/lag-llama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5.xml"/><Relationship Id="rId6" Type="http://schemas.openxmlformats.org/officeDocument/2006/relationships/hyperlink" Target="https://github.com/google-research/timesfm/issues/47" TargetMode="External"/><Relationship Id="rId5" Type="http://schemas.openxmlformats.org/officeDocument/2006/relationships/hyperlink" Target="https://pypi.org/project/tfds-nightly/4.8.3.dev202303280045/" TargetMode="External"/><Relationship Id="rId4" Type="http://schemas.openxmlformats.org/officeDocument/2006/relationships/hyperlink" Target="https://pypi.org/project/seqio-nightly/0.0.17.dev20231010/#files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8641069-0EC6-D17B-0D46-5C3B5722F0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2117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641069-0EC6-D17B-0D46-5C3B5722F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E78663E-13BB-F26D-EF5E-F5EAA2BD7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1414466"/>
            <a:ext cx="11376788" cy="2462213"/>
          </a:xfrm>
        </p:spPr>
        <p:txBody>
          <a:bodyPr vert="horz"/>
          <a:lstStyle/>
          <a:p>
            <a:r>
              <a:rPr lang="en-US" b="1" dirty="0"/>
              <a:t>Time Series Foundation Model Comparis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E76003-F8B7-EB4F-CC9C-ABFEB3B2C5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 CED INW-CN | </a:t>
            </a:r>
            <a:r>
              <a:rPr lang="en-US" altLang="zh-CN" dirty="0"/>
              <a:t>YANG </a:t>
            </a:r>
            <a:r>
              <a:rPr lang="en-US" altLang="zh-CN" dirty="0" err="1"/>
              <a:t>Shaopeng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118CD4-EB57-B1A1-9334-AC681CC9822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4 | </a:t>
            </a:r>
            <a:r>
              <a:rPr lang="en-US" altLang="zh-CN" dirty="0"/>
              <a:t>T CED INW-CN | YANG </a:t>
            </a:r>
            <a:r>
              <a:rPr lang="en-US" altLang="zh-CN" dirty="0" err="1"/>
              <a:t>Shaope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3433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35AF09-28FC-6212-7D3E-CBE702363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9600" dirty="0">
                <a:solidFill>
                  <a:schemeClr val="accent2">
                    <a:lumMod val="75000"/>
                  </a:schemeClr>
                </a:solidFill>
              </a:rPr>
              <a:t>Backu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E29DD2-1D61-EA1D-5298-DF1E94436F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4 | </a:t>
            </a:r>
            <a:r>
              <a:rPr lang="en-US" altLang="zh-CN" dirty="0"/>
              <a:t>T CED INW-CN | YANG </a:t>
            </a:r>
            <a:r>
              <a:rPr lang="en-US" altLang="zh-CN" dirty="0" err="1"/>
              <a:t>Shaope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B4B963-FA98-7012-40E8-B691EF680F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5485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F0329B-DCFB-8E7A-14D1-A6A035BEAD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4 | </a:t>
            </a:r>
            <a:r>
              <a:rPr lang="en-US" altLang="zh-CN" dirty="0"/>
              <a:t>T CED INW-CN | YANG </a:t>
            </a:r>
            <a:r>
              <a:rPr lang="en-US" altLang="zh-CN" dirty="0" err="1"/>
              <a:t>Shaope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C45B2E-9ECF-10B0-0DA8-AB24031102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8A82762F-EF99-6AEF-29C2-E8E612F56F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930" y="267418"/>
            <a:ext cx="5223325" cy="56848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91384D-ED88-E101-F335-1060FCF065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7018" y="267419"/>
            <a:ext cx="5684753" cy="471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2712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D9516-67D5-13DE-A310-93F66BA53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9FCB63-7EBA-3101-1A66-2031F1654F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4 | </a:t>
            </a:r>
            <a:r>
              <a:rPr lang="en-US" altLang="zh-CN" dirty="0"/>
              <a:t>T CED INW-CN | YANG </a:t>
            </a:r>
            <a:r>
              <a:rPr lang="en-US" altLang="zh-CN" dirty="0" err="1"/>
              <a:t>Shaope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F63897-4DFC-5470-79B3-304A1DB2E3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BBCC6F-E993-1744-9FBF-50901A791391}"/>
              </a:ext>
            </a:extLst>
          </p:cNvPr>
          <p:cNvSpPr txBox="1"/>
          <p:nvPr/>
        </p:nvSpPr>
        <p:spPr>
          <a:xfrm>
            <a:off x="517585" y="1147313"/>
            <a:ext cx="11343736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AutoNum type="arabicPeriod"/>
            </a:pPr>
            <a:r>
              <a:rPr lang="zh-CN" altLang="en-US" dirty="0">
                <a:hlinkClick r:id="rId2"/>
              </a:rPr>
              <a:t>人工智能 </a:t>
            </a:r>
            <a:r>
              <a:rPr lang="en-US" altLang="zh-CN" dirty="0">
                <a:hlinkClick r:id="rId2"/>
              </a:rPr>
              <a:t>- </a:t>
            </a:r>
            <a:r>
              <a:rPr lang="zh-CN" altLang="en-US" dirty="0">
                <a:hlinkClick r:id="rId2"/>
              </a:rPr>
              <a:t>谷歌的时间序列预测的基础模型</a:t>
            </a:r>
            <a:r>
              <a:rPr lang="en-US" altLang="zh-CN" dirty="0" err="1">
                <a:hlinkClick r:id="rId2"/>
              </a:rPr>
              <a:t>TimesFM</a:t>
            </a:r>
            <a:r>
              <a:rPr lang="zh-CN" altLang="en-US" dirty="0">
                <a:hlinkClick r:id="rId2"/>
              </a:rPr>
              <a:t>详解和对比测试 </a:t>
            </a:r>
            <a:r>
              <a:rPr lang="en-US" altLang="zh-CN" dirty="0">
                <a:hlinkClick r:id="rId2"/>
              </a:rPr>
              <a:t>- </a:t>
            </a:r>
            <a:r>
              <a:rPr lang="en-US" altLang="zh-CN" dirty="0" err="1">
                <a:hlinkClick r:id="rId2"/>
              </a:rPr>
              <a:t>deephub</a:t>
            </a:r>
            <a:r>
              <a:rPr lang="en-US" altLang="zh-CN" dirty="0">
                <a:hlinkClick r:id="rId2"/>
              </a:rPr>
              <a:t> - </a:t>
            </a:r>
            <a:r>
              <a:rPr lang="en-US" altLang="zh-CN" dirty="0" err="1">
                <a:hlinkClick r:id="rId2"/>
              </a:rPr>
              <a:t>SegmentFault</a:t>
            </a:r>
            <a:r>
              <a:rPr lang="en-US" altLang="zh-CN" dirty="0">
                <a:hlinkClick r:id="rId2"/>
              </a:rPr>
              <a:t> </a:t>
            </a:r>
            <a:r>
              <a:rPr lang="zh-CN" altLang="en-US" dirty="0">
                <a:hlinkClick r:id="rId2"/>
              </a:rPr>
              <a:t>思否</a:t>
            </a:r>
            <a:endParaRPr lang="en-US" altLang="zh-CN" dirty="0"/>
          </a:p>
          <a:p>
            <a:pPr marL="342900" indent="-342900" algn="l">
              <a:buAutoNum type="arabicPeriod"/>
            </a:pPr>
            <a:r>
              <a:rPr lang="en-US" dirty="0" err="1">
                <a:hlinkClick r:id="rId3"/>
              </a:rPr>
              <a:t>TimesFM</a:t>
            </a:r>
            <a:r>
              <a:rPr lang="en-US" dirty="0">
                <a:hlinkClick r:id="rId3"/>
              </a:rPr>
              <a:t> — Google’s Foundational Model for Time Series Forecasting | Towards AI</a:t>
            </a:r>
            <a:endParaRPr lang="en-US" dirty="0"/>
          </a:p>
          <a:p>
            <a:pPr marL="342900" indent="-342900" algn="l">
              <a:buAutoNum type="arabicPeriod"/>
            </a:pPr>
            <a:r>
              <a:rPr lang="en-US" dirty="0">
                <a:hlinkClick r:id="rId4"/>
              </a:rPr>
              <a:t>lhw828/</a:t>
            </a:r>
            <a:r>
              <a:rPr lang="en-US" dirty="0" err="1">
                <a:hlinkClick r:id="rId4"/>
              </a:rPr>
              <a:t>timesfm</a:t>
            </a:r>
            <a:r>
              <a:rPr lang="en-US" dirty="0">
                <a:hlinkClick r:id="rId4"/>
              </a:rPr>
              <a:t>: Google </a:t>
            </a:r>
            <a:r>
              <a:rPr lang="en-US" dirty="0" err="1">
                <a:hlinkClick r:id="rId4"/>
              </a:rPr>
              <a:t>timesfm</a:t>
            </a:r>
            <a:r>
              <a:rPr lang="en-US" dirty="0">
                <a:hlinkClick r:id="rId4"/>
              </a:rPr>
              <a:t> </a:t>
            </a:r>
            <a:r>
              <a:rPr lang="zh-CN" altLang="en-US" dirty="0">
                <a:hlinkClick r:id="rId4"/>
              </a:rPr>
              <a:t>实战部署</a:t>
            </a:r>
            <a:r>
              <a:rPr lang="en-US" altLang="zh-CN" dirty="0">
                <a:hlinkClick r:id="rId4"/>
              </a:rPr>
              <a:t>/</a:t>
            </a:r>
            <a:r>
              <a:rPr lang="zh-CN" altLang="en-US" dirty="0">
                <a:hlinkClick r:id="rId4"/>
              </a:rPr>
              <a:t>本地部署详细记录 </a:t>
            </a:r>
            <a:r>
              <a:rPr lang="en-US" altLang="zh-CN" dirty="0">
                <a:hlinkClick r:id="rId4"/>
              </a:rPr>
              <a:t>(</a:t>
            </a:r>
            <a:r>
              <a:rPr lang="en-US" dirty="0">
                <a:hlinkClick r:id="rId4"/>
              </a:rPr>
              <a:t>github.com)</a:t>
            </a:r>
            <a:endParaRPr lang="en-US" dirty="0"/>
          </a:p>
          <a:p>
            <a:pPr marL="342900" indent="-342900" algn="l">
              <a:buAutoNum type="arabicPeriod"/>
            </a:pPr>
            <a:r>
              <a:rPr lang="en-US" dirty="0">
                <a:hlinkClick r:id="rId5"/>
              </a:rPr>
              <a:t>Forecasting with Chronos - </a:t>
            </a:r>
            <a:r>
              <a:rPr lang="en-US" dirty="0" err="1">
                <a:hlinkClick r:id="rId5"/>
              </a:rPr>
              <a:t>AutoGluon</a:t>
            </a:r>
            <a:r>
              <a:rPr lang="en-US" dirty="0">
                <a:hlinkClick r:id="rId5"/>
              </a:rPr>
              <a:t> 1.1.1 documentation</a:t>
            </a:r>
            <a:endParaRPr lang="en-US" altLang="zh-CN" dirty="0"/>
          </a:p>
          <a:p>
            <a:pPr marL="342900" indent="-342900" algn="l">
              <a:buAutoNum type="arabicPeriod"/>
            </a:pPr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428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B431D6A-C46D-4A5D-AC30-BB8C3337E9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B431D6A-C46D-4A5D-AC30-BB8C3337E9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1A2A011-9EB8-4C94-B3D4-C454660CA0BE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16ACD05-A111-4F7F-B284-44DBE4648F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69623" y="6486307"/>
            <a:ext cx="648000" cy="547200"/>
          </a:xfrm>
        </p:spPr>
        <p:txBody>
          <a:bodyPr/>
          <a:lstStyle/>
          <a:p>
            <a:pPr lvl="0"/>
            <a:r>
              <a:rPr lang="en-US" noProof="0"/>
              <a:t>Page </a:t>
            </a:r>
            <a:fld id="{15EBE321-CBB1-4E91-BD14-37C8D44326FB}" type="slidenum">
              <a:rPr lang="en-US" noProof="0" smtClean="0"/>
              <a:pPr lvl="0"/>
              <a:t>2</a:t>
            </a:fld>
            <a:endParaRPr lang="en-US" noProof="0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F980B7A4-0057-7247-C38F-F04D27EB542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4 | </a:t>
            </a:r>
            <a:r>
              <a:rPr lang="en-US" altLang="zh-CN" dirty="0"/>
              <a:t>T CED INW-CN | YANG </a:t>
            </a:r>
            <a:r>
              <a:rPr lang="en-US" altLang="zh-CN" dirty="0" err="1"/>
              <a:t>Shaopeng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5130F79-FD92-B017-2440-7FB4EA8F6B39}"/>
              </a:ext>
            </a:extLst>
          </p:cNvPr>
          <p:cNvSpPr txBox="1">
            <a:spLocks/>
          </p:cNvSpPr>
          <p:nvPr/>
        </p:nvSpPr>
        <p:spPr>
          <a:xfrm>
            <a:off x="411163" y="198721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Siemens Sans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ysClr val="window" lastClr="FFFFFF"/>
                </a:solidFill>
              </a:rPr>
              <a:t>Time Series Foundation Model Compariso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Siemens Sans" pitchFamily="2" charset="0"/>
              <a:ea typeface="+mj-ea"/>
              <a:cs typeface="+mj-cs"/>
            </a:endParaRPr>
          </a:p>
        </p:txBody>
      </p:sp>
      <p:sp>
        <p:nvSpPr>
          <p:cNvPr id="3" name="AutoShape 2" descr="Diagram outlining the hierarchical organization of the LangChain framework, displaying the interconnected parts across multiple layers.">
            <a:extLst>
              <a:ext uri="{FF2B5EF4-FFF2-40B4-BE49-F238E27FC236}">
                <a16:creationId xmlns:a16="http://schemas.microsoft.com/office/drawing/2014/main" id="{46669F9D-66CD-7AF7-B5C2-E849A40C8D5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941608" cy="2941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AutoShape 4" descr="Diagram outlining the hierarchical organization of the LangChain framework, displaying the interconnected parts across multiple layers.">
            <a:extLst>
              <a:ext uri="{FF2B5EF4-FFF2-40B4-BE49-F238E27FC236}">
                <a16:creationId xmlns:a16="http://schemas.microsoft.com/office/drawing/2014/main" id="{32D91987-9DB9-1026-30DC-0101E51F5AA5}"/>
              </a:ext>
            </a:extLst>
          </p:cNvPr>
          <p:cNvSpPr>
            <a:spLocks noChangeAspect="1" noChangeArrowheads="1"/>
          </p:cNvSpPr>
          <p:nvPr/>
        </p:nvSpPr>
        <p:spPr bwMode="auto">
          <a:xfrm rot="682259">
            <a:off x="5578430" y="3575642"/>
            <a:ext cx="3673685" cy="3673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008E5A5D-E554-1086-1CEE-9694491BD1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0941943"/>
              </p:ext>
            </p:extLst>
          </p:nvPr>
        </p:nvGraphicFramePr>
        <p:xfrm>
          <a:off x="103517" y="840134"/>
          <a:ext cx="11982090" cy="540512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507764">
                  <a:extLst>
                    <a:ext uri="{9D8B030D-6E8A-4147-A177-3AD203B41FA5}">
                      <a16:colId xmlns:a16="http://schemas.microsoft.com/office/drawing/2014/main" val="3937622173"/>
                    </a:ext>
                  </a:extLst>
                </a:gridCol>
                <a:gridCol w="1606372">
                  <a:extLst>
                    <a:ext uri="{9D8B030D-6E8A-4147-A177-3AD203B41FA5}">
                      <a16:colId xmlns:a16="http://schemas.microsoft.com/office/drawing/2014/main" val="2368363749"/>
                    </a:ext>
                  </a:extLst>
                </a:gridCol>
                <a:gridCol w="1707481">
                  <a:extLst>
                    <a:ext uri="{9D8B030D-6E8A-4147-A177-3AD203B41FA5}">
                      <a16:colId xmlns:a16="http://schemas.microsoft.com/office/drawing/2014/main" val="990920304"/>
                    </a:ext>
                  </a:extLst>
                </a:gridCol>
                <a:gridCol w="1613689">
                  <a:extLst>
                    <a:ext uri="{9D8B030D-6E8A-4147-A177-3AD203B41FA5}">
                      <a16:colId xmlns:a16="http://schemas.microsoft.com/office/drawing/2014/main" val="3738080946"/>
                    </a:ext>
                  </a:extLst>
                </a:gridCol>
                <a:gridCol w="1751162">
                  <a:extLst>
                    <a:ext uri="{9D8B030D-6E8A-4147-A177-3AD203B41FA5}">
                      <a16:colId xmlns:a16="http://schemas.microsoft.com/office/drawing/2014/main" val="3999462617"/>
                    </a:ext>
                  </a:extLst>
                </a:gridCol>
                <a:gridCol w="1794294">
                  <a:extLst>
                    <a:ext uri="{9D8B030D-6E8A-4147-A177-3AD203B41FA5}">
                      <a16:colId xmlns:a16="http://schemas.microsoft.com/office/drawing/2014/main" val="1341714179"/>
                    </a:ext>
                  </a:extLst>
                </a:gridCol>
                <a:gridCol w="2001328">
                  <a:extLst>
                    <a:ext uri="{9D8B030D-6E8A-4147-A177-3AD203B41FA5}">
                      <a16:colId xmlns:a16="http://schemas.microsoft.com/office/drawing/2014/main" val="3304922280"/>
                    </a:ext>
                  </a:extLst>
                </a:gridCol>
              </a:tblGrid>
              <a:tr h="238168">
                <a:tc>
                  <a:txBody>
                    <a:bodyPr/>
                    <a:lstStyle/>
                    <a:p>
                      <a:r>
                        <a:rPr lang="en-US" sz="1200" dirty="0"/>
                        <a:t>Name(star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>
                          <a:hlinkClick r:id="rId6"/>
                        </a:rPr>
                        <a:t>TimesFM</a:t>
                      </a:r>
                      <a:r>
                        <a:rPr lang="en-US" sz="1400" dirty="0"/>
                        <a:t> (3.4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>
                          <a:hlinkClick r:id="rId7"/>
                        </a:rPr>
                        <a:t>TimeGPT</a:t>
                      </a:r>
                      <a:r>
                        <a:rPr lang="en-US" sz="1400" dirty="0"/>
                        <a:t> (2.1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hlinkClick r:id="rId8"/>
                        </a:rPr>
                        <a:t>Moment</a:t>
                      </a:r>
                      <a:r>
                        <a:rPr lang="en-US" sz="1400" dirty="0"/>
                        <a:t> (268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hlinkClick r:id="rId9"/>
                        </a:rPr>
                        <a:t>Lag-Llama</a:t>
                      </a:r>
                      <a:r>
                        <a:rPr lang="en-US" sz="1400" dirty="0"/>
                        <a:t> (1.1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hlinkClick r:id="rId10"/>
                        </a:rPr>
                        <a:t>Chronos</a:t>
                      </a:r>
                      <a:r>
                        <a:rPr lang="en-US" sz="1400" dirty="0"/>
                        <a:t> (2.2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hlinkClick r:id="rId11"/>
                        </a:rPr>
                        <a:t>GTT</a:t>
                      </a:r>
                      <a:r>
                        <a:rPr lang="en-US" sz="1400" dirty="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4055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Architec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ecoder-on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ransformer (Encoder), Sa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ransformer (Encod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babilistic forecasting 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(Language) Models for Probabilistic foreca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ncoder-only, Sa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16410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Variate N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n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Mult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Mult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n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n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Multi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26622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Support big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t mention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t mention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t mention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59845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Anomaly det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10181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Classif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563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Zero-sh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t mention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17459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Fine-tu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uture sup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928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Install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strike="sngStrike" dirty="0"/>
                        <a:t>Pip install, </a:t>
                      </a:r>
                      <a:r>
                        <a:rPr lang="en-US" sz="1200" strike="noStrike" dirty="0"/>
                        <a:t> </a:t>
                      </a:r>
                      <a:r>
                        <a:rPr lang="en-US" sz="1200" strike="noStrike" dirty="0" err="1"/>
                        <a:t>C</a:t>
                      </a:r>
                      <a:r>
                        <a:rPr lang="en-US" sz="1200" dirty="0" err="1"/>
                        <a:t>onda</a:t>
                      </a:r>
                      <a:r>
                        <a:rPr lang="en-US" sz="12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Git cl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ip install </a:t>
                      </a:r>
                      <a:r>
                        <a:rPr lang="en-US" sz="1200" dirty="0" err="1"/>
                        <a:t>git+http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i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31572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GPU sup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, CUDA; CP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t mention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t mention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, CU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</a:rPr>
                        <a:t>Yes, CU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250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Irregular Timestamp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t sup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up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t mention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upport missing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t mention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t mention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46106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Limi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1. Context length:512; 2. Point forecast only; 3. Contiguous context. 4.huggingface need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1. Cloud service. 2. </a:t>
                      </a:r>
                      <a:r>
                        <a:rPr lang="en-US" sz="1100" dirty="0">
                          <a:hlinkClick r:id="rId12"/>
                        </a:rPr>
                        <a:t>Pricing</a:t>
                      </a:r>
                      <a:r>
                        <a:rPr lang="en-US" sz="1100" dirty="0"/>
                        <a:t>: $1000 free  credit. 3. No missing valu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1. Context length: 51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1. Context length: 32-256. 2. model from </a:t>
                      </a:r>
                      <a:r>
                        <a:rPr lang="en-US" sz="1100" dirty="0" err="1"/>
                        <a:t>hugging_face</a:t>
                      </a:r>
                      <a:r>
                        <a:rPr lang="en-US" sz="1100" dirty="0"/>
                        <a:t>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1. Model from </a:t>
                      </a:r>
                      <a:r>
                        <a:rPr lang="en-US" sz="1100" dirty="0" err="1"/>
                        <a:t>hugging_face</a:t>
                      </a:r>
                      <a:r>
                        <a:rPr lang="en-US" sz="1100" dirty="0"/>
                        <a:t>. 2. Rely on </a:t>
                      </a:r>
                      <a:r>
                        <a:rPr lang="en-US" sz="1100" dirty="0" err="1"/>
                        <a:t>AutoGluon</a:t>
                      </a:r>
                      <a:r>
                        <a:rPr lang="en-US" sz="1100" dirty="0"/>
                        <a:t>. 3. Not support covariate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1. Model on server. 2. Support long context forecast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79561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Licen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PL-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PL-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PL-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PL-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iemens Inner Source License V1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625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7826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BD1A336-3EAD-0BC1-BAB8-07BE6B6EF5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6840" y="3905237"/>
            <a:ext cx="2706618" cy="24727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CED254-B5C7-5A74-68CE-6C85C1CDDC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imesFM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837A52-7206-2EF3-5F2C-128BB7204C5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4 | </a:t>
            </a:r>
            <a:r>
              <a:rPr lang="en-US" altLang="zh-CN" dirty="0"/>
              <a:t>T CED INW-CN | YANG </a:t>
            </a:r>
            <a:r>
              <a:rPr lang="en-US" altLang="zh-CN" dirty="0" err="1"/>
              <a:t>Shaope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BA9531-D62D-9151-CDE5-C7EDA20B49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DF3D25E-AF3D-6E81-9EA5-7749CAD613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2783" y="766800"/>
            <a:ext cx="6667500" cy="3533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F83AA8C-6CBE-87FE-3204-2EB3FEC2DAD4}"/>
              </a:ext>
            </a:extLst>
          </p:cNvPr>
          <p:cNvSpPr txBox="1"/>
          <p:nvPr/>
        </p:nvSpPr>
        <p:spPr>
          <a:xfrm>
            <a:off x="6096000" y="4386472"/>
            <a:ext cx="215660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Archite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866F5A-E2BD-ED70-241E-1557D197A1FD}"/>
              </a:ext>
            </a:extLst>
          </p:cNvPr>
          <p:cNvSpPr txBox="1"/>
          <p:nvPr/>
        </p:nvSpPr>
        <p:spPr>
          <a:xfrm>
            <a:off x="410401" y="1054800"/>
            <a:ext cx="4843086" cy="36009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tx1"/>
                </a:solidFill>
              </a:rPr>
              <a:t>Installation</a:t>
            </a:r>
          </a:p>
          <a:p>
            <a:pPr marL="342900" indent="-342900" algn="l">
              <a:buAutoNum type="arabicPeriod"/>
            </a:pPr>
            <a:r>
              <a:rPr lang="en-US" i="1" dirty="0">
                <a:solidFill>
                  <a:schemeClr val="tx1"/>
                </a:solidFill>
              </a:rPr>
              <a:t>pip install </a:t>
            </a:r>
            <a:r>
              <a:rPr lang="en-US" i="1" dirty="0" err="1">
                <a:solidFill>
                  <a:schemeClr val="tx1"/>
                </a:solidFill>
              </a:rPr>
              <a:t>timesfm</a:t>
            </a:r>
            <a:r>
              <a:rPr lang="en-US" i="1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could not work (ubuntu 20.04) due to dependencies conflicts like </a:t>
            </a:r>
            <a:r>
              <a:rPr lang="en-US" dirty="0" err="1">
                <a:solidFill>
                  <a:schemeClr val="tx1"/>
                </a:solidFill>
              </a:rPr>
              <a:t>jax</a:t>
            </a:r>
            <a:endParaRPr lang="en-US" dirty="0">
              <a:solidFill>
                <a:schemeClr val="tx1"/>
              </a:solidFill>
            </a:endParaRP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tx1"/>
                </a:solidFill>
              </a:rPr>
              <a:t>Download </a:t>
            </a:r>
            <a:r>
              <a:rPr lang="en-US" dirty="0" err="1">
                <a:solidFill>
                  <a:schemeClr val="tx1"/>
                </a:solidFill>
                <a:hlinkClick r:id="rId4"/>
              </a:rPr>
              <a:t>seqio</a:t>
            </a:r>
            <a:r>
              <a:rPr lang="en-US" dirty="0">
                <a:solidFill>
                  <a:schemeClr val="tx1"/>
                </a:solidFill>
              </a:rPr>
              <a:t> and </a:t>
            </a:r>
            <a:r>
              <a:rPr lang="en-US" dirty="0" err="1">
                <a:solidFill>
                  <a:schemeClr val="tx1"/>
                </a:solidFill>
                <a:hlinkClick r:id="rId5"/>
              </a:rPr>
              <a:t>tfds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whls</a:t>
            </a:r>
            <a:r>
              <a:rPr lang="en-US" dirty="0">
                <a:solidFill>
                  <a:schemeClr val="tx1"/>
                </a:solidFill>
              </a:rPr>
              <a:t> to local folder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tx1"/>
                </a:solidFill>
              </a:rPr>
              <a:t>Download and modify </a:t>
            </a:r>
            <a:r>
              <a:rPr lang="en-US" i="1" dirty="0" err="1">
                <a:solidFill>
                  <a:schemeClr val="tx1"/>
                </a:solidFill>
              </a:rPr>
              <a:t>environment.yml</a:t>
            </a:r>
            <a:r>
              <a:rPr lang="en-US" i="1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from repo according to </a:t>
            </a:r>
            <a:r>
              <a:rPr lang="en-US" dirty="0">
                <a:solidFill>
                  <a:schemeClr val="tx1"/>
                </a:solidFill>
                <a:hlinkClick r:id="rId6"/>
              </a:rPr>
              <a:t>issue</a:t>
            </a:r>
            <a:r>
              <a:rPr lang="en-US" dirty="0">
                <a:solidFill>
                  <a:schemeClr val="tx1"/>
                </a:solidFill>
              </a:rPr>
              <a:t>.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tx1"/>
                </a:solidFill>
              </a:rPr>
              <a:t>Execute </a:t>
            </a:r>
            <a:r>
              <a:rPr lang="en-US" i="1" dirty="0" err="1">
                <a:solidFill>
                  <a:schemeClr val="tx1"/>
                </a:solidFill>
              </a:rPr>
              <a:t>conda</a:t>
            </a:r>
            <a:r>
              <a:rPr lang="en-US" i="1" dirty="0">
                <a:solidFill>
                  <a:schemeClr val="tx1"/>
                </a:solidFill>
              </a:rPr>
              <a:t> env create --file=</a:t>
            </a:r>
            <a:r>
              <a:rPr lang="en-US" i="1" dirty="0" err="1">
                <a:solidFill>
                  <a:schemeClr val="tx1"/>
                </a:solidFill>
              </a:rPr>
              <a:t>environment.yml</a:t>
            </a:r>
            <a:r>
              <a:rPr lang="en-US" dirty="0">
                <a:solidFill>
                  <a:schemeClr val="tx1"/>
                </a:solidFill>
              </a:rPr>
              <a:t> to install dependencies.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tx1"/>
                </a:solidFill>
              </a:rPr>
              <a:t>Execute </a:t>
            </a:r>
            <a:r>
              <a:rPr lang="en-US" i="1" dirty="0">
                <a:solidFill>
                  <a:schemeClr val="tx1"/>
                </a:solidFill>
              </a:rPr>
              <a:t>pip install </a:t>
            </a:r>
            <a:r>
              <a:rPr lang="en-US" i="1" dirty="0" err="1">
                <a:solidFill>
                  <a:schemeClr val="tx1"/>
                </a:solidFill>
              </a:rPr>
              <a:t>timesfm</a:t>
            </a:r>
            <a:r>
              <a:rPr lang="en-US" i="1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now to install </a:t>
            </a:r>
            <a:r>
              <a:rPr lang="en-US" dirty="0" err="1">
                <a:solidFill>
                  <a:schemeClr val="tx1"/>
                </a:solidFill>
              </a:rPr>
              <a:t>timesfm</a:t>
            </a:r>
            <a:r>
              <a:rPr lang="en-US" dirty="0">
                <a:solidFill>
                  <a:schemeClr val="tx1"/>
                </a:solidFill>
              </a:rPr>
              <a:t>.</a:t>
            </a:r>
          </a:p>
          <a:p>
            <a:pPr marL="342900" indent="-342900" algn="l">
              <a:buAutoNum type="arabicPeriod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 algn="l">
              <a:buAutoNum type="arabicPeriod"/>
            </a:pP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AAF2F0C-3739-4D1D-6A6C-102008A983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02783" y="4967485"/>
            <a:ext cx="2942740" cy="6737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AAD10B7-1AB6-1483-23A5-25C73DF915B6}"/>
              </a:ext>
            </a:extLst>
          </p:cNvPr>
          <p:cNvSpPr txBox="1"/>
          <p:nvPr/>
        </p:nvSpPr>
        <p:spPr>
          <a:xfrm>
            <a:off x="2856517" y="6064578"/>
            <a:ext cx="16292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i="1" dirty="0" err="1">
                <a:solidFill>
                  <a:schemeClr val="accent2">
                    <a:lumMod val="60000"/>
                    <a:lumOff val="40000"/>
                  </a:schemeClr>
                </a:solidFill>
              </a:rPr>
              <a:t>Environment.yml</a:t>
            </a:r>
            <a:endParaRPr lang="en-US" sz="1400" i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FF5BA89-03A9-0627-B31B-3C131D2A7B96}"/>
              </a:ext>
            </a:extLst>
          </p:cNvPr>
          <p:cNvSpPr txBox="1"/>
          <p:nvPr/>
        </p:nvSpPr>
        <p:spPr>
          <a:xfrm>
            <a:off x="6096000" y="5709368"/>
            <a:ext cx="215660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Files in folder</a:t>
            </a:r>
          </a:p>
        </p:txBody>
      </p:sp>
    </p:spTree>
    <p:extLst>
      <p:ext uri="{BB962C8B-B14F-4D97-AF65-F5344CB8AC3E}">
        <p14:creationId xmlns:p14="http://schemas.microsoft.com/office/powerpoint/2010/main" val="33100219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D9516-67D5-13DE-A310-93F66BA53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imeGPT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9FCB63-7EBA-3101-1A66-2031F1654F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4 | </a:t>
            </a:r>
            <a:r>
              <a:rPr lang="en-US" altLang="zh-CN" dirty="0"/>
              <a:t>T CED INW-CN | YANG </a:t>
            </a:r>
            <a:r>
              <a:rPr lang="en-US" altLang="zh-CN" dirty="0" err="1"/>
              <a:t>Shaope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F63897-4DFC-5470-79B3-304A1DB2E3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2050" name="Picture 2" descr="Arquitecture">
            <a:extLst>
              <a:ext uri="{FF2B5EF4-FFF2-40B4-BE49-F238E27FC236}">
                <a16:creationId xmlns:a16="http://schemas.microsoft.com/office/drawing/2014/main" id="{DB7F33A1-1E78-83C2-E579-C000B865C2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2652" y="713700"/>
            <a:ext cx="6352709" cy="2393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7809C4-AF3E-4ADA-9920-9406297F8EA5}"/>
              </a:ext>
            </a:extLst>
          </p:cNvPr>
          <p:cNvSpPr txBox="1"/>
          <p:nvPr/>
        </p:nvSpPr>
        <p:spPr>
          <a:xfrm>
            <a:off x="510054" y="1163046"/>
            <a:ext cx="215660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Architecture</a:t>
            </a:r>
          </a:p>
        </p:txBody>
      </p:sp>
      <p:pic>
        <p:nvPicPr>
          <p:cNvPr id="2052" name="Picture 4" descr="Forecast Results">
            <a:extLst>
              <a:ext uri="{FF2B5EF4-FFF2-40B4-BE49-F238E27FC236}">
                <a16:creationId xmlns:a16="http://schemas.microsoft.com/office/drawing/2014/main" id="{FECC03D6-CEAD-71F6-1C79-F067D4543D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2652" y="3162959"/>
            <a:ext cx="4360007" cy="2037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AnomalyDetection">
            <a:extLst>
              <a:ext uri="{FF2B5EF4-FFF2-40B4-BE49-F238E27FC236}">
                <a16:creationId xmlns:a16="http://schemas.microsoft.com/office/drawing/2014/main" id="{89F295E5-A89A-6EC8-941A-7D3A5F3553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2652" y="5269653"/>
            <a:ext cx="4360007" cy="712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36CC16-F528-2892-66DD-D130EBF4754A}"/>
              </a:ext>
            </a:extLst>
          </p:cNvPr>
          <p:cNvSpPr txBox="1"/>
          <p:nvPr/>
        </p:nvSpPr>
        <p:spPr>
          <a:xfrm>
            <a:off x="510054" y="3326535"/>
            <a:ext cx="215660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Forecas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F7EE10-9F0E-07C8-FBD0-DEA179E3E02E}"/>
              </a:ext>
            </a:extLst>
          </p:cNvPr>
          <p:cNvSpPr txBox="1"/>
          <p:nvPr/>
        </p:nvSpPr>
        <p:spPr>
          <a:xfrm>
            <a:off x="510054" y="5379281"/>
            <a:ext cx="215660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Anomaly </a:t>
            </a:r>
          </a:p>
          <a:p>
            <a:pPr algn="l"/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detec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11E830C-734B-D3E9-A5B3-92C182F8DF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3572756"/>
            <a:ext cx="3004165" cy="127153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7BD6AAC-C15B-4AF2-AAF2-AD626AB4DB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5295213"/>
            <a:ext cx="3127066" cy="651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2722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D9516-67D5-13DE-A310-93F66BA53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ment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9FCB63-7EBA-3101-1A66-2031F1654F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4 | </a:t>
            </a:r>
            <a:r>
              <a:rPr lang="en-US" altLang="zh-CN" dirty="0"/>
              <a:t>T CED INW-CN | YANG </a:t>
            </a:r>
            <a:r>
              <a:rPr lang="en-US" altLang="zh-CN" dirty="0" err="1"/>
              <a:t>Shaope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F63897-4DFC-5470-79B3-304A1DB2E3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FFE58DB0-ECD7-F5B4-EEDE-28CB15AB09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401" y="766801"/>
            <a:ext cx="5088313" cy="2858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04B401A-C2A8-EDBE-1A49-6C1EE31FC1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400" y="3913003"/>
            <a:ext cx="5088314" cy="199952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837C9F6-6918-EEF0-9CF3-3F82AC3C59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1839" y="766800"/>
            <a:ext cx="2792728" cy="219344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9F0C5CA-C12B-A444-9D7A-231E98664C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81839" y="3920313"/>
            <a:ext cx="2755892" cy="199953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434E867-A3D2-212F-9B28-0AB0B6ED27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55969" y="793122"/>
            <a:ext cx="2724546" cy="527175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C2D998B-F8E9-B42D-E3E1-774D100DB1BB}"/>
              </a:ext>
            </a:extLst>
          </p:cNvPr>
          <p:cNvSpPr txBox="1"/>
          <p:nvPr/>
        </p:nvSpPr>
        <p:spPr>
          <a:xfrm>
            <a:off x="4403119" y="3624371"/>
            <a:ext cx="12253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accent4"/>
                </a:solidFill>
              </a:rPr>
              <a:t>Architectu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AF13E3A-AA44-3688-DA04-0CB26D9676AD}"/>
              </a:ext>
            </a:extLst>
          </p:cNvPr>
          <p:cNvSpPr txBox="1"/>
          <p:nvPr/>
        </p:nvSpPr>
        <p:spPr>
          <a:xfrm>
            <a:off x="4539306" y="5968088"/>
            <a:ext cx="12253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accent4"/>
                </a:solidFill>
              </a:rPr>
              <a:t>Forecas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F6F5CBA-2B05-83FF-8F21-E27C8258CE79}"/>
              </a:ext>
            </a:extLst>
          </p:cNvPr>
          <p:cNvSpPr txBox="1"/>
          <p:nvPr/>
        </p:nvSpPr>
        <p:spPr>
          <a:xfrm>
            <a:off x="7212384" y="3014957"/>
            <a:ext cx="12253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accent4"/>
                </a:solidFill>
              </a:rPr>
              <a:t>Classific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34C9BE6-A193-842A-B21B-AE60D1A9E834}"/>
              </a:ext>
            </a:extLst>
          </p:cNvPr>
          <p:cNvSpPr txBox="1"/>
          <p:nvPr/>
        </p:nvSpPr>
        <p:spPr>
          <a:xfrm>
            <a:off x="6751350" y="5975668"/>
            <a:ext cx="214741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sz="1600" dirty="0">
                <a:solidFill>
                  <a:schemeClr val="accent4"/>
                </a:solidFill>
              </a:rPr>
              <a:t>Anomaly detection</a:t>
            </a:r>
            <a:endParaRPr lang="en-US" sz="160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790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D9516-67D5-13DE-A310-93F66BA53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g-Llama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9FCB63-7EBA-3101-1A66-2031F1654F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4 | </a:t>
            </a:r>
            <a:r>
              <a:rPr lang="en-US" altLang="zh-CN" dirty="0"/>
              <a:t>T CED INW-CN | YANG </a:t>
            </a:r>
            <a:r>
              <a:rPr lang="en-US" altLang="zh-CN" dirty="0" err="1"/>
              <a:t>Shaope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F63897-4DFC-5470-79B3-304A1DB2E3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4098" name="Picture 2" descr="Paper Review: Lag-Llama: Towards Foundation Models for Probabilistic ...">
            <a:extLst>
              <a:ext uri="{FF2B5EF4-FFF2-40B4-BE49-F238E27FC236}">
                <a16:creationId xmlns:a16="http://schemas.microsoft.com/office/drawing/2014/main" id="{A1D8B08F-DA84-5FFC-DA74-F0BEF7557E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400" y="929513"/>
            <a:ext cx="3477296" cy="4998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121FFC0-DAE3-3AED-C637-A7B6C201DE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8447" y="929513"/>
            <a:ext cx="3767856" cy="28177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6AE8276-BF61-2426-BC8D-11E99F3CF9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7053" y="929512"/>
            <a:ext cx="3767855" cy="28177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F4C4DDA-2EDC-9414-B9CA-6CAF6D137C69}"/>
              </a:ext>
            </a:extLst>
          </p:cNvPr>
          <p:cNvSpPr txBox="1"/>
          <p:nvPr/>
        </p:nvSpPr>
        <p:spPr>
          <a:xfrm>
            <a:off x="2744296" y="5928487"/>
            <a:ext cx="1143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Architectu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7A40833-4045-DDC7-5530-1604CEE0C1E7}"/>
              </a:ext>
            </a:extLst>
          </p:cNvPr>
          <p:cNvSpPr txBox="1"/>
          <p:nvPr/>
        </p:nvSpPr>
        <p:spPr>
          <a:xfrm>
            <a:off x="7068944" y="3747278"/>
            <a:ext cx="1143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Forecas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FC6BC6-1A09-E68D-15D0-07178B6B71D6}"/>
              </a:ext>
            </a:extLst>
          </p:cNvPr>
          <p:cNvSpPr txBox="1"/>
          <p:nvPr/>
        </p:nvSpPr>
        <p:spPr>
          <a:xfrm>
            <a:off x="9351034" y="3747279"/>
            <a:ext cx="312930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Forecast with missing valu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20DA8E1-814C-8332-8397-DC9BD7D475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8447" y="4145576"/>
            <a:ext cx="6343976" cy="71123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32A4540-7BF6-07FB-F1F9-CFCD8A6F494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33669"/>
          <a:stretch/>
        </p:blipFill>
        <p:spPr>
          <a:xfrm>
            <a:off x="10915687" y="4223472"/>
            <a:ext cx="1003352" cy="182812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27542B4-A46A-4532-7AF2-2B694701DC06}"/>
              </a:ext>
            </a:extLst>
          </p:cNvPr>
          <p:cNvSpPr txBox="1"/>
          <p:nvPr/>
        </p:nvSpPr>
        <p:spPr>
          <a:xfrm>
            <a:off x="4221831" y="5120281"/>
            <a:ext cx="605256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</a:rPr>
              <a:t>Lag-llama is installed using git clone, will pull the whole folder in order to use it. </a:t>
            </a:r>
          </a:p>
        </p:txBody>
      </p:sp>
    </p:spTree>
    <p:extLst>
      <p:ext uri="{BB962C8B-B14F-4D97-AF65-F5344CB8AC3E}">
        <p14:creationId xmlns:p14="http://schemas.microsoft.com/office/powerpoint/2010/main" val="15634560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D9516-67D5-13DE-A310-93F66BA53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ronos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9FCB63-7EBA-3101-1A66-2031F1654F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4 | </a:t>
            </a:r>
            <a:r>
              <a:rPr lang="en-US" altLang="zh-CN" dirty="0"/>
              <a:t>T CED INW-CN | YANG </a:t>
            </a:r>
            <a:r>
              <a:rPr lang="en-US" altLang="zh-CN" dirty="0" err="1"/>
              <a:t>Shaope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F63897-4DFC-5470-79B3-304A1DB2E3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5DBDC4F3-FE4A-B143-69CE-083956E2D0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400" y="798544"/>
            <a:ext cx="6749525" cy="269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C5C106B-997B-7E45-6503-B37F01208200}"/>
              </a:ext>
            </a:extLst>
          </p:cNvPr>
          <p:cNvSpPr txBox="1"/>
          <p:nvPr/>
        </p:nvSpPr>
        <p:spPr>
          <a:xfrm>
            <a:off x="6016524" y="3528036"/>
            <a:ext cx="1143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Architectu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2B6B8F1-C762-6425-776A-63D304B296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399" y="3861089"/>
            <a:ext cx="6749525" cy="139112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3798D18-59A8-B127-0A85-C650C35DF397}"/>
              </a:ext>
            </a:extLst>
          </p:cNvPr>
          <p:cNvSpPr txBox="1"/>
          <p:nvPr/>
        </p:nvSpPr>
        <p:spPr>
          <a:xfrm>
            <a:off x="6096000" y="5295718"/>
            <a:ext cx="1143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Forecast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1780292-630C-89C4-EEB9-E304CE079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84645" y="3372914"/>
            <a:ext cx="3156834" cy="262403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CCA5F3B-9D0B-E29C-61E0-1B7336D442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4645" y="819599"/>
            <a:ext cx="3374331" cy="233767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537A1727-721D-8575-01EE-E3F48E4D47FD}"/>
              </a:ext>
            </a:extLst>
          </p:cNvPr>
          <p:cNvSpPr txBox="1"/>
          <p:nvPr/>
        </p:nvSpPr>
        <p:spPr>
          <a:xfrm>
            <a:off x="7384645" y="6019493"/>
            <a:ext cx="427251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sz="1600" i="1" dirty="0">
                <a:solidFill>
                  <a:schemeClr val="tx1"/>
                </a:solidFill>
              </a:rPr>
              <a:t>Recommended: using </a:t>
            </a:r>
            <a:r>
              <a:rPr lang="en-US" altLang="zh-CN" sz="1600" i="1" dirty="0" err="1">
                <a:solidFill>
                  <a:schemeClr val="tx1"/>
                </a:solidFill>
              </a:rPr>
              <a:t>AutoGluon</a:t>
            </a:r>
            <a:endParaRPr lang="en-US" sz="16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905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D9516-67D5-13DE-A310-93F66BA53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TT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9FCB63-7EBA-3101-1A66-2031F1654F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4 | </a:t>
            </a:r>
            <a:r>
              <a:rPr lang="en-US" altLang="zh-CN" dirty="0"/>
              <a:t>T CED INW-CN | YANG </a:t>
            </a:r>
            <a:r>
              <a:rPr lang="en-US" altLang="zh-CN" dirty="0" err="1"/>
              <a:t>Shaope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F63897-4DFC-5470-79B3-304A1DB2E3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7B5256-1640-75C9-8534-C289491CEA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400" y="928420"/>
            <a:ext cx="4544711" cy="20899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01F741-483B-E7F9-2E7A-060A1314AB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4960" y="928420"/>
            <a:ext cx="3435137" cy="258253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C3C3451-358E-C54C-021B-04203CD219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4960" y="3846539"/>
            <a:ext cx="3435137" cy="158058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57B47B6-8DB2-E900-11DD-6F9B32116A6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9636"/>
          <a:stretch/>
        </p:blipFill>
        <p:spPr>
          <a:xfrm>
            <a:off x="8800916" y="928420"/>
            <a:ext cx="3236968" cy="258253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9D41804-BFB1-2991-3500-169B9DFC8E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00916" y="3846539"/>
            <a:ext cx="3236968" cy="117629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6FB8F13-D892-D034-EBBE-5A76B14D6A45}"/>
              </a:ext>
            </a:extLst>
          </p:cNvPr>
          <p:cNvSpPr txBox="1"/>
          <p:nvPr/>
        </p:nvSpPr>
        <p:spPr>
          <a:xfrm>
            <a:off x="3876151" y="3053215"/>
            <a:ext cx="1143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Architectur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DB0A33E-FFCF-282B-361F-FFE24F1430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0400" y="3468028"/>
            <a:ext cx="4609151" cy="103342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5B3DAA3-D4BA-6957-011B-5B10227B4003}"/>
              </a:ext>
            </a:extLst>
          </p:cNvPr>
          <p:cNvSpPr txBox="1"/>
          <p:nvPr/>
        </p:nvSpPr>
        <p:spPr>
          <a:xfrm>
            <a:off x="3876151" y="4559977"/>
            <a:ext cx="1143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Dataset</a:t>
            </a:r>
            <a:endParaRPr lang="en-US" sz="160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20552F2-16A3-9127-E1A4-3E51020CB77B}"/>
              </a:ext>
            </a:extLst>
          </p:cNvPr>
          <p:cNvSpPr txBox="1"/>
          <p:nvPr/>
        </p:nvSpPr>
        <p:spPr>
          <a:xfrm>
            <a:off x="7592727" y="3555542"/>
            <a:ext cx="1143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Forecas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5AA1E5F-9472-45E5-3B2C-D8D2DE0A6A48}"/>
              </a:ext>
            </a:extLst>
          </p:cNvPr>
          <p:cNvSpPr txBox="1"/>
          <p:nvPr/>
        </p:nvSpPr>
        <p:spPr>
          <a:xfrm>
            <a:off x="10049522" y="3555542"/>
            <a:ext cx="19883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Anomaly detection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0064A38-8A98-B479-A817-F6FB7AE888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0400" y="4951072"/>
            <a:ext cx="3613336" cy="133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4574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35AF09-28FC-6212-7D3E-CBE702363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9600" dirty="0">
                <a:solidFill>
                  <a:schemeClr val="accent2">
                    <a:lumMod val="75000"/>
                  </a:schemeClr>
                </a:solidFill>
              </a:rPr>
              <a:t>Open Ques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E29DD2-1D61-EA1D-5298-DF1E94436F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4 | </a:t>
            </a:r>
            <a:r>
              <a:rPr lang="en-US" altLang="zh-CN" dirty="0"/>
              <a:t>T CED INW-CN | YANG </a:t>
            </a:r>
            <a:r>
              <a:rPr lang="en-US" altLang="zh-CN" dirty="0" err="1"/>
              <a:t>Shaope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B4B963-FA98-7012-40E8-B691EF680F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8E6170-123D-8253-B5FB-05DA821D3723}"/>
              </a:ext>
            </a:extLst>
          </p:cNvPr>
          <p:cNvSpPr txBox="1"/>
          <p:nvPr/>
        </p:nvSpPr>
        <p:spPr>
          <a:xfrm>
            <a:off x="560717" y="2182505"/>
            <a:ext cx="11248845" cy="249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Experience and knowledge sharing on choosing and using TSFMs, would be great if sharing best practices of using and deployment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Infrastructure of TSFM? For example, </a:t>
            </a:r>
            <a:r>
              <a:rPr lang="en-US" sz="1800" dirty="0" err="1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hugging_face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 access. A centralized server? GPU requirement?</a:t>
            </a:r>
            <a:endParaRPr lang="en-US" sz="1800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Comparison with traditional machine learning forecasting libraries like Darts, Prophet, LSTM both advantages and scenarios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Dataset and evaluation </a:t>
            </a:r>
          </a:p>
        </p:txBody>
      </p:sp>
    </p:spTree>
    <p:extLst>
      <p:ext uri="{BB962C8B-B14F-4D97-AF65-F5344CB8AC3E}">
        <p14:creationId xmlns:p14="http://schemas.microsoft.com/office/powerpoint/2010/main" val="3156418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deb55b3a-33d8-40d4-a2a5-00d73ccd4da4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O1Jy9VBLV9EzYzwzgX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">
      <a:majorFont>
        <a:latin typeface="Siemens Sans"/>
        <a:ea typeface="Siemens Sans Global"/>
        <a:cs typeface=""/>
      </a:majorFont>
      <a:minorFont>
        <a:latin typeface="Siemens Sans"/>
        <a:ea typeface="Siemens Sans Glob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-ppt-O365-16x9-standard-eng-v3-4-3.pptx" id="{610F14FA-6370-4702-910B-FD07F822D983}" vid="{AA31864D-3AE4-4975-9E71-C341E134A110}"/>
    </a:ext>
  </a:extLst>
</a:theme>
</file>

<file path=ppt/theme/theme2.xml><?xml version="1.0" encoding="utf-8"?>
<a:theme xmlns:a="http://schemas.openxmlformats.org/drawingml/2006/main" name="Unrestricted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iemens 2020 Restricted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BD53DFBFD0634D92C515EB03BFCB56" ma:contentTypeVersion="7" ma:contentTypeDescription="Create a new document." ma:contentTypeScope="" ma:versionID="47f477dccf8b5bcc307fb89e4517b717">
  <xsd:schema xmlns:xsd="http://www.w3.org/2001/XMLSchema" xmlns:xs="http://www.w3.org/2001/XMLSchema" xmlns:p="http://schemas.microsoft.com/office/2006/metadata/properties" xmlns:ns2="f62401ca-0741-478b-8366-2496e29129ec" targetNamespace="http://schemas.microsoft.com/office/2006/metadata/properties" ma:root="true" ma:fieldsID="03ecc4612e351273f5aaed22a6d64433" ns2:_="">
    <xsd:import namespace="f62401ca-0741-478b-8366-2496e29129e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2401ca-0741-478b-8366-2496e29129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7D11D7D-2675-47C3-8DD7-B44C1E246AD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62401ca-0741-478b-8366-2496e29129e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850ECEC-2FF5-458C-A97A-40556B3141E8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9d258917-277f-42cd-a3cd-14c4e9ee58bc}" enabled="1" method="Privileged" siteId="{38ae3bcd-9579-4fd4-adda-b42e1495d5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90</Words>
  <Application>Microsoft Office PowerPoint</Application>
  <PresentationFormat>Widescreen</PresentationFormat>
  <Paragraphs>165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Siemens Sans</vt:lpstr>
      <vt:lpstr>Siemens 2022</vt:lpstr>
      <vt:lpstr>Unrestricted</vt:lpstr>
      <vt:lpstr>Siemens 2020 Restricted</vt:lpstr>
      <vt:lpstr>think-cell Slide</vt:lpstr>
      <vt:lpstr>think-cell Folie</vt:lpstr>
      <vt:lpstr>Time Series Foundation Model Comparison</vt:lpstr>
      <vt:lpstr>PowerPoint Presentation</vt:lpstr>
      <vt:lpstr>TimesFM</vt:lpstr>
      <vt:lpstr>TimeGPT  </vt:lpstr>
      <vt:lpstr>Moment  </vt:lpstr>
      <vt:lpstr>Lag-Llama  </vt:lpstr>
      <vt:lpstr>Chronos  </vt:lpstr>
      <vt:lpstr>GTT  </vt:lpstr>
      <vt:lpstr>Open Questions</vt:lpstr>
      <vt:lpstr>Backup</vt:lpstr>
      <vt:lpstr>PowerPoint Presentation</vt:lpstr>
      <vt:lpstr>References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AG PowerPoint Presentation</dc:title>
  <dc:creator>Wang, Yang - Gavin (T CED INW-CN)</dc:creator>
  <cp:keywords>Template</cp:keywords>
  <dc:description>Version 3.4.3
December 2022</dc:description>
  <cp:lastModifiedBy>Yang, Shao Peng (T CED INW-CN)</cp:lastModifiedBy>
  <cp:revision>266</cp:revision>
  <cp:lastPrinted>1999-12-31T16:00:00Z</cp:lastPrinted>
  <dcterms:created xsi:type="dcterms:W3CDTF">2023-03-03T00:18:48Z</dcterms:created>
  <dcterms:modified xsi:type="dcterms:W3CDTF">2024-08-13T10:5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number">
    <vt:lpwstr>4.0.0</vt:lpwstr>
  </property>
  <property fmtid="{D5CDD505-2E9C-101B-9397-08002B2CF9AE}" pid="3" name="Language">
    <vt:lpwstr>English</vt:lpwstr>
  </property>
  <property fmtid="{D5CDD505-2E9C-101B-9397-08002B2CF9AE}" pid="4" name="MSIP_Label_9d258917-277f-42cd-a3cd-14c4e9ee58bc_Enabled">
    <vt:lpwstr>true</vt:lpwstr>
  </property>
  <property fmtid="{D5CDD505-2E9C-101B-9397-08002B2CF9AE}" pid="5" name="MSIP_Label_9d258917-277f-42cd-a3cd-14c4e9ee58bc_SetDate">
    <vt:lpwstr>2023-06-30T07:33:30Z</vt:lpwstr>
  </property>
  <property fmtid="{D5CDD505-2E9C-101B-9397-08002B2CF9AE}" pid="6" name="MSIP_Label_9d258917-277f-42cd-a3cd-14c4e9ee58bc_Method">
    <vt:lpwstr>Privileged</vt:lpwstr>
  </property>
  <property fmtid="{D5CDD505-2E9C-101B-9397-08002B2CF9AE}" pid="7" name="MSIP_Label_9d258917-277f-42cd-a3cd-14c4e9ee58bc_Name">
    <vt:lpwstr>restricted</vt:lpwstr>
  </property>
  <property fmtid="{D5CDD505-2E9C-101B-9397-08002B2CF9AE}" pid="8" name="MSIP_Label_9d258917-277f-42cd-a3cd-14c4e9ee58bc_SiteId">
    <vt:lpwstr>38ae3bcd-9579-4fd4-adda-b42e1495d55a</vt:lpwstr>
  </property>
  <property fmtid="{D5CDD505-2E9C-101B-9397-08002B2CF9AE}" pid="9" name="MSIP_Label_9d258917-277f-42cd-a3cd-14c4e9ee58bc_ActionId">
    <vt:lpwstr>2ff727b8-f98e-4d5d-ba24-cd3fa738fc65</vt:lpwstr>
  </property>
  <property fmtid="{D5CDD505-2E9C-101B-9397-08002B2CF9AE}" pid="10" name="MSIP_Label_9d258917-277f-42cd-a3cd-14c4e9ee58bc_ContentBits">
    <vt:lpwstr>0</vt:lpwstr>
  </property>
  <property fmtid="{D5CDD505-2E9C-101B-9397-08002B2CF9AE}" pid="11" name="Document_Confidentiality">
    <vt:lpwstr>Restricted</vt:lpwstr>
  </property>
</Properties>
</file>